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ags/tag1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28" r:id="rId2"/>
  </p:sldMasterIdLst>
  <p:notesMasterIdLst>
    <p:notesMasterId r:id="rId8"/>
  </p:notesMasterIdLst>
  <p:sldIdLst>
    <p:sldId id="422" r:id="rId3"/>
    <p:sldId id="423" r:id="rId4"/>
    <p:sldId id="2147481192" r:id="rId5"/>
    <p:sldId id="2147481193" r:id="rId6"/>
    <p:sldId id="2147481196" r:id="rId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>
      <p:cViewPr varScale="1">
        <p:scale>
          <a:sx n="93" d="100"/>
          <a:sy n="93" d="100"/>
        </p:scale>
        <p:origin x="1188" y="30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8440DA-962E-4354-A441-F848E682FF0A}" type="datetimeFigureOut">
              <a:rPr lang="en-IN" smtClean="0"/>
              <a:t>05-10-2025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8002B52-B519-4E3D-BAFD-962FCEEFE7D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536999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8062AC-BCBF-D9A0-D5F9-ABAA16D3D5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3C241BA-83EC-D66C-70F2-7FFC9E82F0F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44DAA67-28F8-A5E9-70A4-5712D9EA07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B86B89-4ED9-1479-07A6-D4C4FD5C5AF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E9B365-0A4B-4D56-AFC8-F747419116C5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72419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hyperlink" Target="http://www.youtube.com/capgeminimedia" TargetMode="External"/><Relationship Id="rId3" Type="http://schemas.openxmlformats.org/officeDocument/2006/relationships/image" Target="../media/image7.png"/><Relationship Id="rId7" Type="http://schemas.openxmlformats.org/officeDocument/2006/relationships/image" Target="../media/image9.png"/><Relationship Id="rId12" Type="http://schemas.openxmlformats.org/officeDocument/2006/relationships/image" Target="../media/image3.svg"/><Relationship Id="rId2" Type="http://schemas.openxmlformats.org/officeDocument/2006/relationships/hyperlink" Target="http://www.facebook.com/capgemini" TargetMode="External"/><Relationship Id="rId1" Type="http://schemas.openxmlformats.org/officeDocument/2006/relationships/slideMaster" Target="../slideMasters/slideMaster1.xml"/><Relationship Id="rId6" Type="http://schemas.openxmlformats.org/officeDocument/2006/relationships/hyperlink" Target="http://www.slideshare.net/capgemini" TargetMode="External"/><Relationship Id="rId11" Type="http://schemas.openxmlformats.org/officeDocument/2006/relationships/image" Target="../media/image2.png"/><Relationship Id="rId5" Type="http://schemas.openxmlformats.org/officeDocument/2006/relationships/image" Target="../media/image8.png"/><Relationship Id="rId10" Type="http://schemas.openxmlformats.org/officeDocument/2006/relationships/image" Target="../media/image11.png"/><Relationship Id="rId4" Type="http://schemas.openxmlformats.org/officeDocument/2006/relationships/hyperlink" Target="http://www.linkedin.com/company/capgemini" TargetMode="External"/><Relationship Id="rId9" Type="http://schemas.openxmlformats.org/officeDocument/2006/relationships/image" Target="../media/image10.png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hyperlink" Target="http://www.youtube.com/capgeminimedia" TargetMode="External"/><Relationship Id="rId3" Type="http://schemas.openxmlformats.org/officeDocument/2006/relationships/image" Target="../media/image7.png"/><Relationship Id="rId7" Type="http://schemas.openxmlformats.org/officeDocument/2006/relationships/image" Target="../media/image9.png"/><Relationship Id="rId12" Type="http://schemas.openxmlformats.org/officeDocument/2006/relationships/image" Target="../media/image3.svg"/><Relationship Id="rId2" Type="http://schemas.openxmlformats.org/officeDocument/2006/relationships/hyperlink" Target="http://www.facebook.com/capgemini" TargetMode="External"/><Relationship Id="rId1" Type="http://schemas.openxmlformats.org/officeDocument/2006/relationships/slideMaster" Target="../slideMasters/slideMaster1.xml"/><Relationship Id="rId6" Type="http://schemas.openxmlformats.org/officeDocument/2006/relationships/hyperlink" Target="http://www.slideshare.net/capgemini" TargetMode="External"/><Relationship Id="rId11" Type="http://schemas.openxmlformats.org/officeDocument/2006/relationships/image" Target="../media/image2.png"/><Relationship Id="rId5" Type="http://schemas.openxmlformats.org/officeDocument/2006/relationships/image" Target="../media/image8.png"/><Relationship Id="rId10" Type="http://schemas.openxmlformats.org/officeDocument/2006/relationships/image" Target="../media/image12.png"/><Relationship Id="rId4" Type="http://schemas.openxmlformats.org/officeDocument/2006/relationships/hyperlink" Target="http://www.linkedin.com/company/capgemini" TargetMode="External"/><Relationship Id="rId9" Type="http://schemas.openxmlformats.org/officeDocument/2006/relationships/image" Target="../media/image10.png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6.emf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2.png"/><Relationship Id="rId7" Type="http://schemas.openxmlformats.org/officeDocument/2006/relationships/hyperlink" Target="http://www.linkedin.com/company/capgemini" TargetMode="External"/><Relationship Id="rId12" Type="http://schemas.openxmlformats.org/officeDocument/2006/relationships/image" Target="../media/image10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11" Type="http://schemas.openxmlformats.org/officeDocument/2006/relationships/hyperlink" Target="http://www.youtube.com/capgeminimedia" TargetMode="External"/><Relationship Id="rId5" Type="http://schemas.openxmlformats.org/officeDocument/2006/relationships/hyperlink" Target="http://www.facebook.com/capgemini" TargetMode="External"/><Relationship Id="rId10" Type="http://schemas.openxmlformats.org/officeDocument/2006/relationships/image" Target="../media/image9.png"/><Relationship Id="rId4" Type="http://schemas.openxmlformats.org/officeDocument/2006/relationships/image" Target="../media/image3.svg"/><Relationship Id="rId9" Type="http://schemas.openxmlformats.org/officeDocument/2006/relationships/hyperlink" Target="http://www.slideshare.net/capgemini" TargetMode="Externa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16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e 5">
    <p:bg>
      <p:bgPr>
        <a:gradFill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6C58B55F-3EAC-C6DA-30E9-A9EAE34D71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7038" y="2320211"/>
            <a:ext cx="11356975" cy="2215991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000" b="0" cap="none" baseline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itle</a:t>
            </a:r>
            <a:r>
              <a:rPr lang="fr-FR"/>
              <a:t> Style</a:t>
            </a:r>
          </a:p>
        </p:txBody>
      </p:sp>
      <p:pic>
        <p:nvPicPr>
          <p:cNvPr id="6" name="Graphique 5">
            <a:extLst>
              <a:ext uri="{FF2B5EF4-FFF2-40B4-BE49-F238E27FC236}">
                <a16:creationId xmlns:a16="http://schemas.microsoft.com/office/drawing/2014/main" id="{1FC0C195-743A-45CA-A7AC-41DE07F871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2694" y="5975962"/>
            <a:ext cx="2988000" cy="453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6588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">
            <a:extLst>
              <a:ext uri="{FF2B5EF4-FFF2-40B4-BE49-F238E27FC236}">
                <a16:creationId xmlns:a16="http://schemas.microsoft.com/office/drawing/2014/main" id="{70ACFCFC-1DDE-342C-6F6C-421985D8A34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988" y="5460790"/>
            <a:ext cx="11090275" cy="246221"/>
          </a:xfrm>
          <a:prstGeom prst="rect">
            <a:avLst/>
          </a:prstGeom>
        </p:spPr>
        <p:txBody>
          <a:bodyPr wrap="square" lIns="18000" tIns="0" rIns="0" anchor="b" anchorCtr="0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BA5DDAC5-BAB8-79F8-0B48-89767D2C03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4697327"/>
            <a:ext cx="11090276" cy="747897"/>
          </a:xfr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8B5D9CCD-97AB-0A8C-8F1D-AB5C4C775A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67808" y="-1636495"/>
            <a:ext cx="8715336" cy="7220395"/>
          </a:xfrm>
          <a:prstGeom prst="rect">
            <a:avLst/>
          </a:prstGeom>
        </p:spPr>
      </p:pic>
      <p:pic>
        <p:nvPicPr>
          <p:cNvPr id="11" name="Graphique 10">
            <a:extLst>
              <a:ext uri="{FF2B5EF4-FFF2-40B4-BE49-F238E27FC236}">
                <a16:creationId xmlns:a16="http://schemas.microsoft.com/office/drawing/2014/main" id="{5EE4A2CA-448B-3DB3-0F6A-0206C7221F2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2694" y="5975962"/>
            <a:ext cx="2988000" cy="453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146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">
            <a:extLst>
              <a:ext uri="{FF2B5EF4-FFF2-40B4-BE49-F238E27FC236}">
                <a16:creationId xmlns:a16="http://schemas.microsoft.com/office/drawing/2014/main" id="{A762397C-7EE3-E752-C3C7-E1EB83F8081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70" y="3676570"/>
            <a:ext cx="5545138" cy="246221"/>
          </a:xfrm>
          <a:prstGeom prst="rect">
            <a:avLst/>
          </a:prstGeom>
        </p:spPr>
        <p:txBody>
          <a:bodyPr wrap="square" lIns="18000" tIns="0" rIns="0" anchor="b" anchorCtr="0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EA67FB30-5217-5F8D-B4ED-781E4E0C89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368" y="1343944"/>
            <a:ext cx="5545139" cy="2326627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04E8B402-A28C-9742-E11A-B00843CA0E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368" y="1051220"/>
            <a:ext cx="5545139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Optional: Click to insert name</a:t>
            </a:r>
          </a:p>
        </p:txBody>
      </p:sp>
      <p:pic>
        <p:nvPicPr>
          <p:cNvPr id="3" name="Graphique 2">
            <a:extLst>
              <a:ext uri="{FF2B5EF4-FFF2-40B4-BE49-F238E27FC236}">
                <a16:creationId xmlns:a16="http://schemas.microsoft.com/office/drawing/2014/main" id="{CF565734-CB9C-E6D3-8327-980EFE5492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2694" y="5975962"/>
            <a:ext cx="2988000" cy="453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4965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Picture White Spa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515EF69-611F-4B2F-BC64-DD310E60015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1911680 w 12192000"/>
              <a:gd name="connsiteY0" fmla="*/ 373627 h 6858000"/>
              <a:gd name="connsiteX1" fmla="*/ 11857975 w 12192000"/>
              <a:gd name="connsiteY1" fmla="*/ 408564 h 6858000"/>
              <a:gd name="connsiteX2" fmla="*/ 11820236 w 12192000"/>
              <a:gd name="connsiteY2" fmla="*/ 476983 h 6858000"/>
              <a:gd name="connsiteX3" fmla="*/ 11778143 w 12192000"/>
              <a:gd name="connsiteY3" fmla="*/ 538124 h 6858000"/>
              <a:gd name="connsiteX4" fmla="*/ 11708472 w 12192000"/>
              <a:gd name="connsiteY4" fmla="*/ 581796 h 6858000"/>
              <a:gd name="connsiteX5" fmla="*/ 11753468 w 12192000"/>
              <a:gd name="connsiteY5" fmla="*/ 593441 h 6858000"/>
              <a:gd name="connsiteX6" fmla="*/ 11802818 w 12192000"/>
              <a:gd name="connsiteY6" fmla="*/ 589074 h 6858000"/>
              <a:gd name="connsiteX7" fmla="*/ 11887005 w 12192000"/>
              <a:gd name="connsiteY7" fmla="*/ 552681 h 6858000"/>
              <a:gd name="connsiteX8" fmla="*/ 11823139 w 12192000"/>
              <a:gd name="connsiteY8" fmla="*/ 494452 h 6858000"/>
              <a:gd name="connsiteX9" fmla="*/ 11911680 w 12192000"/>
              <a:gd name="connsiteY9" fmla="*/ 522111 h 6858000"/>
              <a:gd name="connsiteX10" fmla="*/ 11974094 w 12192000"/>
              <a:gd name="connsiteY10" fmla="*/ 460970 h 6858000"/>
              <a:gd name="connsiteX11" fmla="*/ 11972642 w 12192000"/>
              <a:gd name="connsiteY11" fmla="*/ 404197 h 6858000"/>
              <a:gd name="connsiteX12" fmla="*/ 11911680 w 12192000"/>
              <a:gd name="connsiteY12" fmla="*/ 373627 h 6858000"/>
              <a:gd name="connsiteX13" fmla="*/ 11785438 w 12192000"/>
              <a:gd name="connsiteY13" fmla="*/ 207688 h 6858000"/>
              <a:gd name="connsiteX14" fmla="*/ 11562864 w 12192000"/>
              <a:gd name="connsiteY14" fmla="*/ 439169 h 6858000"/>
              <a:gd name="connsiteX15" fmla="*/ 11639965 w 12192000"/>
              <a:gd name="connsiteY15" fmla="*/ 551270 h 6858000"/>
              <a:gd name="connsiteX16" fmla="*/ 11725794 w 12192000"/>
              <a:gd name="connsiteY16" fmla="*/ 546903 h 6858000"/>
              <a:gd name="connsiteX17" fmla="*/ 11786893 w 12192000"/>
              <a:gd name="connsiteY17" fmla="*/ 490124 h 6858000"/>
              <a:gd name="connsiteX18" fmla="*/ 11833444 w 12192000"/>
              <a:gd name="connsiteY18" fmla="*/ 412964 h 6858000"/>
              <a:gd name="connsiteX19" fmla="*/ 11895998 w 12192000"/>
              <a:gd name="connsiteY19" fmla="*/ 360553 h 6858000"/>
              <a:gd name="connsiteX20" fmla="*/ 11971644 w 12192000"/>
              <a:gd name="connsiteY20" fmla="*/ 379479 h 6858000"/>
              <a:gd name="connsiteX21" fmla="*/ 11907636 w 12192000"/>
              <a:gd name="connsiteY21" fmla="*/ 281937 h 6858000"/>
              <a:gd name="connsiteX22" fmla="*/ 11795621 w 12192000"/>
              <a:gd name="connsiteY22" fmla="*/ 212056 h 6858000"/>
              <a:gd name="connsiteX23" fmla="*/ 11785438 w 12192000"/>
              <a:gd name="connsiteY23" fmla="*/ 207688 h 6858000"/>
              <a:gd name="connsiteX24" fmla="*/ 0 w 12192000"/>
              <a:gd name="connsiteY24" fmla="*/ 0 h 6858000"/>
              <a:gd name="connsiteX25" fmla="*/ 12192000 w 12192000"/>
              <a:gd name="connsiteY25" fmla="*/ 0 h 6858000"/>
              <a:gd name="connsiteX26" fmla="*/ 12192000 w 12192000"/>
              <a:gd name="connsiteY26" fmla="*/ 6858000 h 6858000"/>
              <a:gd name="connsiteX27" fmla="*/ 0 w 12192000"/>
              <a:gd name="connsiteY2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2192000" h="6858000">
                <a:moveTo>
                  <a:pt x="11911680" y="373627"/>
                </a:moveTo>
                <a:cubicBezTo>
                  <a:pt x="11888456" y="375083"/>
                  <a:pt x="11871038" y="389640"/>
                  <a:pt x="11857975" y="408564"/>
                </a:cubicBezTo>
                <a:cubicBezTo>
                  <a:pt x="11842009" y="428944"/>
                  <a:pt x="11831848" y="453692"/>
                  <a:pt x="11820236" y="476983"/>
                </a:cubicBezTo>
                <a:cubicBezTo>
                  <a:pt x="11808624" y="498819"/>
                  <a:pt x="11795561" y="519199"/>
                  <a:pt x="11778143" y="538124"/>
                </a:cubicBezTo>
                <a:cubicBezTo>
                  <a:pt x="11759274" y="558504"/>
                  <a:pt x="11736050" y="574517"/>
                  <a:pt x="11708472" y="581796"/>
                </a:cubicBezTo>
                <a:cubicBezTo>
                  <a:pt x="11721535" y="590530"/>
                  <a:pt x="11738953" y="593441"/>
                  <a:pt x="11753468" y="593441"/>
                </a:cubicBezTo>
                <a:cubicBezTo>
                  <a:pt x="11769434" y="594897"/>
                  <a:pt x="11786852" y="591986"/>
                  <a:pt x="11802818" y="589074"/>
                </a:cubicBezTo>
                <a:cubicBezTo>
                  <a:pt x="11833300" y="584707"/>
                  <a:pt x="11865232" y="574517"/>
                  <a:pt x="11887005" y="552681"/>
                </a:cubicBezTo>
                <a:cubicBezTo>
                  <a:pt x="11852169" y="552681"/>
                  <a:pt x="11824591" y="529389"/>
                  <a:pt x="11823139" y="494452"/>
                </a:cubicBezTo>
                <a:cubicBezTo>
                  <a:pt x="11844912" y="520655"/>
                  <a:pt x="11878296" y="530845"/>
                  <a:pt x="11911680" y="522111"/>
                </a:cubicBezTo>
                <a:cubicBezTo>
                  <a:pt x="11940709" y="513376"/>
                  <a:pt x="11965385" y="490085"/>
                  <a:pt x="11974094" y="460970"/>
                </a:cubicBezTo>
                <a:cubicBezTo>
                  <a:pt x="11979900" y="442046"/>
                  <a:pt x="11981351" y="423121"/>
                  <a:pt x="11972642" y="404197"/>
                </a:cubicBezTo>
                <a:cubicBezTo>
                  <a:pt x="11961030" y="382361"/>
                  <a:pt x="11936355" y="372171"/>
                  <a:pt x="11911680" y="373627"/>
                </a:cubicBezTo>
                <a:close/>
                <a:moveTo>
                  <a:pt x="11785438" y="207688"/>
                </a:moveTo>
                <a:cubicBezTo>
                  <a:pt x="11735977" y="268834"/>
                  <a:pt x="11562864" y="312510"/>
                  <a:pt x="11562864" y="439169"/>
                </a:cubicBezTo>
                <a:cubicBezTo>
                  <a:pt x="11562864" y="487212"/>
                  <a:pt x="11593413" y="533800"/>
                  <a:pt x="11639965" y="551270"/>
                </a:cubicBezTo>
                <a:cubicBezTo>
                  <a:pt x="11667605" y="561461"/>
                  <a:pt x="11698154" y="560005"/>
                  <a:pt x="11725794" y="546903"/>
                </a:cubicBezTo>
                <a:cubicBezTo>
                  <a:pt x="11751979" y="535256"/>
                  <a:pt x="11770891" y="514874"/>
                  <a:pt x="11786893" y="490124"/>
                </a:cubicBezTo>
                <a:cubicBezTo>
                  <a:pt x="11804350" y="465375"/>
                  <a:pt x="11817442" y="439169"/>
                  <a:pt x="11833444" y="412964"/>
                </a:cubicBezTo>
                <a:cubicBezTo>
                  <a:pt x="11847992" y="389670"/>
                  <a:pt x="11868358" y="366376"/>
                  <a:pt x="11895998" y="360553"/>
                </a:cubicBezTo>
                <a:cubicBezTo>
                  <a:pt x="11922183" y="353274"/>
                  <a:pt x="11952732" y="360553"/>
                  <a:pt x="11971644" y="379479"/>
                </a:cubicBezTo>
                <a:cubicBezTo>
                  <a:pt x="11960006" y="341627"/>
                  <a:pt x="11938185" y="309598"/>
                  <a:pt x="11907636" y="281937"/>
                </a:cubicBezTo>
                <a:cubicBezTo>
                  <a:pt x="11874177" y="251364"/>
                  <a:pt x="11836354" y="229526"/>
                  <a:pt x="11795621" y="212056"/>
                </a:cubicBezTo>
                <a:cubicBezTo>
                  <a:pt x="11792712" y="210600"/>
                  <a:pt x="11788348" y="209144"/>
                  <a:pt x="11785438" y="207688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 and send picture to back</a:t>
            </a:r>
          </a:p>
        </p:txBody>
      </p:sp>
      <p:grpSp>
        <p:nvGrpSpPr>
          <p:cNvPr id="12" name="Group 37">
            <a:extLst>
              <a:ext uri="{FF2B5EF4-FFF2-40B4-BE49-F238E27FC236}">
                <a16:creationId xmlns:a16="http://schemas.microsoft.com/office/drawing/2014/main" id="{410EED03-E568-4797-9F93-83A0DEAA8E73}"/>
              </a:ext>
            </a:extLst>
          </p:cNvPr>
          <p:cNvGrpSpPr/>
          <p:nvPr userDrawn="1"/>
        </p:nvGrpSpPr>
        <p:grpSpPr>
          <a:xfrm>
            <a:off x="11562864" y="207688"/>
            <a:ext cx="418487" cy="387209"/>
            <a:chOff x="5481638" y="2859088"/>
            <a:chExt cx="1231900" cy="1139825"/>
          </a:xfrm>
          <a:solidFill>
            <a:schemeClr val="bg1"/>
          </a:solidFill>
        </p:grpSpPr>
        <p:sp>
          <p:nvSpPr>
            <p:cNvPr id="13" name="Freeform 320">
              <a:extLst>
                <a:ext uri="{FF2B5EF4-FFF2-40B4-BE49-F238E27FC236}">
                  <a16:creationId xmlns:a16="http://schemas.microsoft.com/office/drawing/2014/main" id="{B7BDD3A5-74DC-407F-917E-4CAA2D7F64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81638" y="2859088"/>
              <a:ext cx="1203325" cy="1041400"/>
            </a:xfrm>
            <a:custGeom>
              <a:avLst/>
              <a:gdLst>
                <a:gd name="T0" fmla="*/ 229 w 281"/>
                <a:gd name="T1" fmla="*/ 105 h 243"/>
                <a:gd name="T2" fmla="*/ 186 w 281"/>
                <a:gd name="T3" fmla="*/ 141 h 243"/>
                <a:gd name="T4" fmla="*/ 154 w 281"/>
                <a:gd name="T5" fmla="*/ 194 h 243"/>
                <a:gd name="T6" fmla="*/ 112 w 281"/>
                <a:gd name="T7" fmla="*/ 233 h 243"/>
                <a:gd name="T8" fmla="*/ 53 w 281"/>
                <a:gd name="T9" fmla="*/ 236 h 243"/>
                <a:gd name="T10" fmla="*/ 0 w 281"/>
                <a:gd name="T11" fmla="*/ 159 h 243"/>
                <a:gd name="T12" fmla="*/ 153 w 281"/>
                <a:gd name="T13" fmla="*/ 0 h 243"/>
                <a:gd name="T14" fmla="*/ 153 w 281"/>
                <a:gd name="T15" fmla="*/ 0 h 243"/>
                <a:gd name="T16" fmla="*/ 160 w 281"/>
                <a:gd name="T17" fmla="*/ 3 h 243"/>
                <a:gd name="T18" fmla="*/ 237 w 281"/>
                <a:gd name="T19" fmla="*/ 51 h 243"/>
                <a:gd name="T20" fmla="*/ 281 w 281"/>
                <a:gd name="T21" fmla="*/ 118 h 243"/>
                <a:gd name="T22" fmla="*/ 229 w 281"/>
                <a:gd name="T23" fmla="*/ 10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1" h="243">
                  <a:moveTo>
                    <a:pt x="229" y="105"/>
                  </a:moveTo>
                  <a:cubicBezTo>
                    <a:pt x="210" y="109"/>
                    <a:pt x="196" y="125"/>
                    <a:pt x="186" y="141"/>
                  </a:cubicBezTo>
                  <a:cubicBezTo>
                    <a:pt x="175" y="159"/>
                    <a:pt x="166" y="177"/>
                    <a:pt x="154" y="194"/>
                  </a:cubicBezTo>
                  <a:cubicBezTo>
                    <a:pt x="143" y="211"/>
                    <a:pt x="130" y="225"/>
                    <a:pt x="112" y="233"/>
                  </a:cubicBezTo>
                  <a:cubicBezTo>
                    <a:pt x="93" y="242"/>
                    <a:pt x="72" y="243"/>
                    <a:pt x="53" y="236"/>
                  </a:cubicBezTo>
                  <a:cubicBezTo>
                    <a:pt x="21" y="224"/>
                    <a:pt x="0" y="192"/>
                    <a:pt x="0" y="159"/>
                  </a:cubicBezTo>
                  <a:cubicBezTo>
                    <a:pt x="0" y="72"/>
                    <a:pt x="119" y="42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55" y="1"/>
                    <a:pt x="158" y="2"/>
                    <a:pt x="160" y="3"/>
                  </a:cubicBezTo>
                  <a:cubicBezTo>
                    <a:pt x="188" y="15"/>
                    <a:pt x="214" y="30"/>
                    <a:pt x="237" y="51"/>
                  </a:cubicBezTo>
                  <a:cubicBezTo>
                    <a:pt x="258" y="70"/>
                    <a:pt x="273" y="92"/>
                    <a:pt x="281" y="118"/>
                  </a:cubicBezTo>
                  <a:cubicBezTo>
                    <a:pt x="268" y="105"/>
                    <a:pt x="247" y="100"/>
                    <a:pt x="229" y="10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321">
              <a:extLst>
                <a:ext uri="{FF2B5EF4-FFF2-40B4-BE49-F238E27FC236}">
                  <a16:creationId xmlns:a16="http://schemas.microsoft.com/office/drawing/2014/main" id="{AFD49D75-8E14-497D-BFBC-1AB7413E4B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10263" y="3343275"/>
              <a:ext cx="803275" cy="655638"/>
            </a:xfrm>
            <a:custGeom>
              <a:avLst/>
              <a:gdLst>
                <a:gd name="T0" fmla="*/ 183 w 188"/>
                <a:gd name="T1" fmla="*/ 61 h 153"/>
                <a:gd name="T2" fmla="*/ 140 w 188"/>
                <a:gd name="T3" fmla="*/ 103 h 153"/>
                <a:gd name="T4" fmla="*/ 79 w 188"/>
                <a:gd name="T5" fmla="*/ 84 h 153"/>
                <a:gd name="T6" fmla="*/ 123 w 188"/>
                <a:gd name="T7" fmla="*/ 124 h 153"/>
                <a:gd name="T8" fmla="*/ 65 w 188"/>
                <a:gd name="T9" fmla="*/ 149 h 153"/>
                <a:gd name="T10" fmla="*/ 31 w 188"/>
                <a:gd name="T11" fmla="*/ 152 h 153"/>
                <a:gd name="T12" fmla="*/ 0 w 188"/>
                <a:gd name="T13" fmla="*/ 144 h 153"/>
                <a:gd name="T14" fmla="*/ 48 w 188"/>
                <a:gd name="T15" fmla="*/ 114 h 153"/>
                <a:gd name="T16" fmla="*/ 77 w 188"/>
                <a:gd name="T17" fmla="*/ 72 h 153"/>
                <a:gd name="T18" fmla="*/ 103 w 188"/>
                <a:gd name="T19" fmla="*/ 25 h 153"/>
                <a:gd name="T20" fmla="*/ 140 w 188"/>
                <a:gd name="T21" fmla="*/ 1 h 153"/>
                <a:gd name="T22" fmla="*/ 182 w 188"/>
                <a:gd name="T23" fmla="*/ 22 h 153"/>
                <a:gd name="T24" fmla="*/ 183 w 188"/>
                <a:gd name="T25" fmla="*/ 6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8" h="153">
                  <a:moveTo>
                    <a:pt x="183" y="61"/>
                  </a:moveTo>
                  <a:cubicBezTo>
                    <a:pt x="177" y="81"/>
                    <a:pt x="160" y="97"/>
                    <a:pt x="140" y="103"/>
                  </a:cubicBezTo>
                  <a:cubicBezTo>
                    <a:pt x="117" y="109"/>
                    <a:pt x="94" y="102"/>
                    <a:pt x="79" y="84"/>
                  </a:cubicBezTo>
                  <a:cubicBezTo>
                    <a:pt x="80" y="108"/>
                    <a:pt x="99" y="124"/>
                    <a:pt x="123" y="124"/>
                  </a:cubicBezTo>
                  <a:cubicBezTo>
                    <a:pt x="108" y="139"/>
                    <a:pt x="86" y="146"/>
                    <a:pt x="65" y="149"/>
                  </a:cubicBezTo>
                  <a:cubicBezTo>
                    <a:pt x="54" y="151"/>
                    <a:pt x="42" y="153"/>
                    <a:pt x="31" y="152"/>
                  </a:cubicBezTo>
                  <a:cubicBezTo>
                    <a:pt x="21" y="152"/>
                    <a:pt x="9" y="150"/>
                    <a:pt x="0" y="144"/>
                  </a:cubicBezTo>
                  <a:cubicBezTo>
                    <a:pt x="19" y="139"/>
                    <a:pt x="35" y="128"/>
                    <a:pt x="48" y="114"/>
                  </a:cubicBezTo>
                  <a:cubicBezTo>
                    <a:pt x="60" y="101"/>
                    <a:pt x="69" y="87"/>
                    <a:pt x="77" y="72"/>
                  </a:cubicBezTo>
                  <a:cubicBezTo>
                    <a:pt x="85" y="56"/>
                    <a:pt x="92" y="39"/>
                    <a:pt x="103" y="25"/>
                  </a:cubicBezTo>
                  <a:cubicBezTo>
                    <a:pt x="112" y="12"/>
                    <a:pt x="124" y="2"/>
                    <a:pt x="140" y="1"/>
                  </a:cubicBezTo>
                  <a:cubicBezTo>
                    <a:pt x="157" y="0"/>
                    <a:pt x="174" y="7"/>
                    <a:pt x="182" y="22"/>
                  </a:cubicBezTo>
                  <a:cubicBezTo>
                    <a:pt x="188" y="35"/>
                    <a:pt x="187" y="48"/>
                    <a:pt x="183" y="6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">
            <a:extLst>
              <a:ext uri="{FF2B5EF4-FFF2-40B4-BE49-F238E27FC236}">
                <a16:creationId xmlns:a16="http://schemas.microsoft.com/office/drawing/2014/main" id="{F7412FBE-22A2-10A4-80F8-94BD980CE0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" y="2708920"/>
            <a:ext cx="7968207" cy="2949857"/>
          </a:xfrm>
          <a:solidFill>
            <a:schemeClr val="bg2"/>
          </a:solidFill>
        </p:spPr>
        <p:txBody>
          <a:bodyPr wrap="square" lIns="396000" tIns="360000" rIns="504000" bIns="1080000" anchor="ctr" anchorCtr="0">
            <a:no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B3FCD38E-1F71-EA8E-7048-F655798886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7368" y="4725144"/>
            <a:ext cx="7273330" cy="276999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text style</a:t>
            </a:r>
            <a:endParaRPr lang="en-GB"/>
          </a:p>
        </p:txBody>
      </p:sp>
      <p:grpSp>
        <p:nvGrpSpPr>
          <p:cNvPr id="11" name="Graphic 4">
            <a:extLst>
              <a:ext uri="{FF2B5EF4-FFF2-40B4-BE49-F238E27FC236}">
                <a16:creationId xmlns:a16="http://schemas.microsoft.com/office/drawing/2014/main" id="{227B5C8A-EE1D-805A-4B7E-1676BF71ED7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368" y="6000692"/>
            <a:ext cx="2988000" cy="458780"/>
            <a:chOff x="3176111" y="1257136"/>
            <a:chExt cx="5719756" cy="878207"/>
          </a:xfrm>
        </p:grpSpPr>
        <p:sp>
          <p:nvSpPr>
            <p:cNvPr id="15" name="Freeform: Shape 2">
              <a:extLst>
                <a:ext uri="{FF2B5EF4-FFF2-40B4-BE49-F238E27FC236}">
                  <a16:creationId xmlns:a16="http://schemas.microsoft.com/office/drawing/2014/main" id="{72F6BDEF-BC59-6E49-002E-78E7F4339BA8}"/>
                </a:ext>
              </a:extLst>
            </p:cNvPr>
            <p:cNvSpPr/>
            <p:nvPr/>
          </p:nvSpPr>
          <p:spPr>
            <a:xfrm>
              <a:off x="8667268" y="1360960"/>
              <a:ext cx="228599" cy="485775"/>
            </a:xfrm>
            <a:custGeom>
              <a:avLst/>
              <a:gdLst>
                <a:gd name="connsiteX0" fmla="*/ 43339 w 228600"/>
                <a:gd name="connsiteY0" fmla="*/ 14764 h 485775"/>
                <a:gd name="connsiteX1" fmla="*/ 90011 w 228600"/>
                <a:gd name="connsiteY1" fmla="*/ 7144 h 485775"/>
                <a:gd name="connsiteX2" fmla="*/ 90011 w 228600"/>
                <a:gd name="connsiteY2" fmla="*/ 118586 h 485775"/>
                <a:gd name="connsiteX3" fmla="*/ 217646 w 228600"/>
                <a:gd name="connsiteY3" fmla="*/ 118586 h 485775"/>
                <a:gd name="connsiteX4" fmla="*/ 217646 w 228600"/>
                <a:gd name="connsiteY4" fmla="*/ 148114 h 485775"/>
                <a:gd name="connsiteX5" fmla="*/ 180499 w 228600"/>
                <a:gd name="connsiteY5" fmla="*/ 185261 h 485775"/>
                <a:gd name="connsiteX6" fmla="*/ 90011 w 228600"/>
                <a:gd name="connsiteY6" fmla="*/ 185261 h 485775"/>
                <a:gd name="connsiteX7" fmla="*/ 90011 w 228600"/>
                <a:gd name="connsiteY7" fmla="*/ 330994 h 485775"/>
                <a:gd name="connsiteX8" fmla="*/ 103346 w 228600"/>
                <a:gd name="connsiteY8" fmla="*/ 392906 h 485775"/>
                <a:gd name="connsiteX9" fmla="*/ 150019 w 228600"/>
                <a:gd name="connsiteY9" fmla="*/ 411004 h 485775"/>
                <a:gd name="connsiteX10" fmla="*/ 190024 w 228600"/>
                <a:gd name="connsiteY10" fmla="*/ 406241 h 485775"/>
                <a:gd name="connsiteX11" fmla="*/ 217646 w 228600"/>
                <a:gd name="connsiteY11" fmla="*/ 397669 h 485775"/>
                <a:gd name="connsiteX12" fmla="*/ 226219 w 228600"/>
                <a:gd name="connsiteY12" fmla="*/ 438626 h 485775"/>
                <a:gd name="connsiteX13" fmla="*/ 205264 w 228600"/>
                <a:gd name="connsiteY13" fmla="*/ 472916 h 485775"/>
                <a:gd name="connsiteX14" fmla="*/ 193834 w 228600"/>
                <a:gd name="connsiteY14" fmla="*/ 475774 h 485775"/>
                <a:gd name="connsiteX15" fmla="*/ 138589 w 228600"/>
                <a:gd name="connsiteY15" fmla="*/ 482441 h 485775"/>
                <a:gd name="connsiteX16" fmla="*/ 74771 w 228600"/>
                <a:gd name="connsiteY16" fmla="*/ 471964 h 485775"/>
                <a:gd name="connsiteX17" fmla="*/ 33814 w 228600"/>
                <a:gd name="connsiteY17" fmla="*/ 442436 h 485775"/>
                <a:gd name="connsiteX18" fmla="*/ 12859 w 228600"/>
                <a:gd name="connsiteY18" fmla="*/ 394811 h 485775"/>
                <a:gd name="connsiteX19" fmla="*/ 7144 w 228600"/>
                <a:gd name="connsiteY19" fmla="*/ 330994 h 485775"/>
                <a:gd name="connsiteX20" fmla="*/ 7144 w 228600"/>
                <a:gd name="connsiteY20" fmla="*/ 56674 h 485775"/>
                <a:gd name="connsiteX21" fmla="*/ 43339 w 228600"/>
                <a:gd name="connsiteY21" fmla="*/ 14764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28600" h="485775">
                  <a:moveTo>
                    <a:pt x="43339" y="14764"/>
                  </a:moveTo>
                  <a:lnTo>
                    <a:pt x="90011" y="7144"/>
                  </a:lnTo>
                  <a:lnTo>
                    <a:pt x="90011" y="118586"/>
                  </a:lnTo>
                  <a:lnTo>
                    <a:pt x="217646" y="118586"/>
                  </a:lnTo>
                  <a:lnTo>
                    <a:pt x="217646" y="148114"/>
                  </a:lnTo>
                  <a:cubicBezTo>
                    <a:pt x="217646" y="168116"/>
                    <a:pt x="201453" y="185261"/>
                    <a:pt x="180499" y="185261"/>
                  </a:cubicBezTo>
                  <a:lnTo>
                    <a:pt x="90011" y="185261"/>
                  </a:lnTo>
                  <a:lnTo>
                    <a:pt x="90011" y="330994"/>
                  </a:lnTo>
                  <a:cubicBezTo>
                    <a:pt x="90011" y="359569"/>
                    <a:pt x="94774" y="380524"/>
                    <a:pt x="103346" y="392906"/>
                  </a:cubicBezTo>
                  <a:cubicBezTo>
                    <a:pt x="112871" y="405289"/>
                    <a:pt x="128111" y="411004"/>
                    <a:pt x="150019" y="411004"/>
                  </a:cubicBezTo>
                  <a:cubicBezTo>
                    <a:pt x="165259" y="411004"/>
                    <a:pt x="178594" y="409099"/>
                    <a:pt x="190024" y="406241"/>
                  </a:cubicBezTo>
                  <a:cubicBezTo>
                    <a:pt x="201453" y="403384"/>
                    <a:pt x="210978" y="400526"/>
                    <a:pt x="217646" y="397669"/>
                  </a:cubicBezTo>
                  <a:lnTo>
                    <a:pt x="226219" y="438626"/>
                  </a:lnTo>
                  <a:cubicBezTo>
                    <a:pt x="229076" y="453866"/>
                    <a:pt x="220503" y="469106"/>
                    <a:pt x="205264" y="472916"/>
                  </a:cubicBezTo>
                  <a:lnTo>
                    <a:pt x="193834" y="475774"/>
                  </a:lnTo>
                  <a:cubicBezTo>
                    <a:pt x="178594" y="480536"/>
                    <a:pt x="159544" y="482441"/>
                    <a:pt x="138589" y="482441"/>
                  </a:cubicBezTo>
                  <a:cubicBezTo>
                    <a:pt x="112871" y="482441"/>
                    <a:pt x="91916" y="478631"/>
                    <a:pt x="74771" y="471964"/>
                  </a:cubicBezTo>
                  <a:cubicBezTo>
                    <a:pt x="57626" y="465296"/>
                    <a:pt x="44291" y="454819"/>
                    <a:pt x="33814" y="442436"/>
                  </a:cubicBezTo>
                  <a:cubicBezTo>
                    <a:pt x="23336" y="429101"/>
                    <a:pt x="16669" y="413861"/>
                    <a:pt x="12859" y="394811"/>
                  </a:cubicBezTo>
                  <a:cubicBezTo>
                    <a:pt x="9049" y="376714"/>
                    <a:pt x="7144" y="354806"/>
                    <a:pt x="7144" y="330994"/>
                  </a:cubicBezTo>
                  <a:lnTo>
                    <a:pt x="7144" y="56674"/>
                  </a:lnTo>
                  <a:cubicBezTo>
                    <a:pt x="7144" y="36671"/>
                    <a:pt x="22384" y="18574"/>
                    <a:pt x="43339" y="14764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6" name="Freeform: Shape 3">
              <a:extLst>
                <a:ext uri="{FF2B5EF4-FFF2-40B4-BE49-F238E27FC236}">
                  <a16:creationId xmlns:a16="http://schemas.microsoft.com/office/drawing/2014/main" id="{9016A95E-3008-B38A-2223-174492311DC3}"/>
                </a:ext>
              </a:extLst>
            </p:cNvPr>
            <p:cNvSpPr/>
            <p:nvPr/>
          </p:nvSpPr>
          <p:spPr>
            <a:xfrm>
              <a:off x="7972896" y="1460972"/>
              <a:ext cx="333375" cy="381000"/>
            </a:xfrm>
            <a:custGeom>
              <a:avLst/>
              <a:gdLst>
                <a:gd name="connsiteX0" fmla="*/ 7144 w 333375"/>
                <a:gd name="connsiteY0" fmla="*/ 196691 h 381000"/>
                <a:gd name="connsiteX1" fmla="*/ 21431 w 333375"/>
                <a:gd name="connsiteY1" fmla="*/ 113824 h 381000"/>
                <a:gd name="connsiteX2" fmla="*/ 58579 w 333375"/>
                <a:gd name="connsiteY2" fmla="*/ 54769 h 381000"/>
                <a:gd name="connsiteX3" fmla="*/ 111919 w 333375"/>
                <a:gd name="connsiteY3" fmla="*/ 19526 h 381000"/>
                <a:gd name="connsiteX4" fmla="*/ 173831 w 333375"/>
                <a:gd name="connsiteY4" fmla="*/ 7144 h 381000"/>
                <a:gd name="connsiteX5" fmla="*/ 289084 w 333375"/>
                <a:gd name="connsiteY5" fmla="*/ 52864 h 381000"/>
                <a:gd name="connsiteX6" fmla="*/ 330041 w 333375"/>
                <a:gd name="connsiteY6" fmla="*/ 189071 h 381000"/>
                <a:gd name="connsiteX7" fmla="*/ 330041 w 333375"/>
                <a:gd name="connsiteY7" fmla="*/ 204311 h 381000"/>
                <a:gd name="connsiteX8" fmla="*/ 329089 w 333375"/>
                <a:gd name="connsiteY8" fmla="*/ 219551 h 381000"/>
                <a:gd name="connsiteX9" fmla="*/ 93822 w 333375"/>
                <a:gd name="connsiteY9" fmla="*/ 219551 h 381000"/>
                <a:gd name="connsiteX10" fmla="*/ 124301 w 333375"/>
                <a:gd name="connsiteY10" fmla="*/ 286226 h 381000"/>
                <a:gd name="connsiteX11" fmla="*/ 202406 w 333375"/>
                <a:gd name="connsiteY11" fmla="*/ 310039 h 381000"/>
                <a:gd name="connsiteX12" fmla="*/ 257651 w 333375"/>
                <a:gd name="connsiteY12" fmla="*/ 304324 h 381000"/>
                <a:gd name="connsiteX13" fmla="*/ 269081 w 333375"/>
                <a:gd name="connsiteY13" fmla="*/ 301466 h 381000"/>
                <a:gd name="connsiteX14" fmla="*/ 301466 w 333375"/>
                <a:gd name="connsiteY14" fmla="*/ 323374 h 381000"/>
                <a:gd name="connsiteX15" fmla="*/ 307181 w 333375"/>
                <a:gd name="connsiteY15" fmla="*/ 360521 h 381000"/>
                <a:gd name="connsiteX16" fmla="*/ 288131 w 333375"/>
                <a:gd name="connsiteY16" fmla="*/ 368141 h 381000"/>
                <a:gd name="connsiteX17" fmla="*/ 260509 w 333375"/>
                <a:gd name="connsiteY17" fmla="*/ 374809 h 381000"/>
                <a:gd name="connsiteX18" fmla="*/ 227172 w 333375"/>
                <a:gd name="connsiteY18" fmla="*/ 379571 h 381000"/>
                <a:gd name="connsiteX19" fmla="*/ 190976 w 333375"/>
                <a:gd name="connsiteY19" fmla="*/ 381476 h 381000"/>
                <a:gd name="connsiteX20" fmla="*/ 109061 w 333375"/>
                <a:gd name="connsiteY20" fmla="*/ 367189 h 381000"/>
                <a:gd name="connsiteX21" fmla="*/ 51911 w 333375"/>
                <a:gd name="connsiteY21" fmla="*/ 328136 h 381000"/>
                <a:gd name="connsiteX22" fmla="*/ 18574 w 333375"/>
                <a:gd name="connsiteY22" fmla="*/ 269081 h 381000"/>
                <a:gd name="connsiteX23" fmla="*/ 7144 w 333375"/>
                <a:gd name="connsiteY23" fmla="*/ 196691 h 381000"/>
                <a:gd name="connsiteX24" fmla="*/ 246222 w 333375"/>
                <a:gd name="connsiteY24" fmla="*/ 159544 h 381000"/>
                <a:gd name="connsiteX25" fmla="*/ 241459 w 333375"/>
                <a:gd name="connsiteY25" fmla="*/ 127159 h 381000"/>
                <a:gd name="connsiteX26" fmla="*/ 227172 w 333375"/>
                <a:gd name="connsiteY26" fmla="*/ 100489 h 381000"/>
                <a:gd name="connsiteX27" fmla="*/ 204311 w 333375"/>
                <a:gd name="connsiteY27" fmla="*/ 82391 h 381000"/>
                <a:gd name="connsiteX28" fmla="*/ 172879 w 333375"/>
                <a:gd name="connsiteY28" fmla="*/ 75724 h 381000"/>
                <a:gd name="connsiteX29" fmla="*/ 139541 w 333375"/>
                <a:gd name="connsiteY29" fmla="*/ 83344 h 381000"/>
                <a:gd name="connsiteX30" fmla="*/ 115729 w 333375"/>
                <a:gd name="connsiteY30" fmla="*/ 102394 h 381000"/>
                <a:gd name="connsiteX31" fmla="*/ 100489 w 333375"/>
                <a:gd name="connsiteY31" fmla="*/ 129064 h 381000"/>
                <a:gd name="connsiteX32" fmla="*/ 92869 w 333375"/>
                <a:gd name="connsiteY32" fmla="*/ 159544 h 381000"/>
                <a:gd name="connsiteX33" fmla="*/ 246222 w 333375"/>
                <a:gd name="connsiteY33" fmla="*/ 159544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33375" h="381000">
                  <a:moveTo>
                    <a:pt x="7144" y="196691"/>
                  </a:moveTo>
                  <a:cubicBezTo>
                    <a:pt x="7144" y="165259"/>
                    <a:pt x="11906" y="137636"/>
                    <a:pt x="21431" y="113824"/>
                  </a:cubicBezTo>
                  <a:cubicBezTo>
                    <a:pt x="30956" y="90011"/>
                    <a:pt x="43339" y="70009"/>
                    <a:pt x="58579" y="54769"/>
                  </a:cubicBezTo>
                  <a:cubicBezTo>
                    <a:pt x="73819" y="38576"/>
                    <a:pt x="91916" y="27146"/>
                    <a:pt x="111919" y="19526"/>
                  </a:cubicBezTo>
                  <a:cubicBezTo>
                    <a:pt x="131922" y="11906"/>
                    <a:pt x="152876" y="7144"/>
                    <a:pt x="173831" y="7144"/>
                  </a:cubicBezTo>
                  <a:cubicBezTo>
                    <a:pt x="223361" y="7144"/>
                    <a:pt x="261461" y="22384"/>
                    <a:pt x="289084" y="52864"/>
                  </a:cubicBezTo>
                  <a:cubicBezTo>
                    <a:pt x="316706" y="83344"/>
                    <a:pt x="330041" y="129064"/>
                    <a:pt x="330041" y="189071"/>
                  </a:cubicBezTo>
                  <a:cubicBezTo>
                    <a:pt x="330041" y="193834"/>
                    <a:pt x="330041" y="198596"/>
                    <a:pt x="330041" y="204311"/>
                  </a:cubicBezTo>
                  <a:cubicBezTo>
                    <a:pt x="330041" y="210026"/>
                    <a:pt x="329089" y="214789"/>
                    <a:pt x="329089" y="219551"/>
                  </a:cubicBezTo>
                  <a:lnTo>
                    <a:pt x="93822" y="219551"/>
                  </a:lnTo>
                  <a:cubicBezTo>
                    <a:pt x="95726" y="248126"/>
                    <a:pt x="106204" y="270034"/>
                    <a:pt x="124301" y="286226"/>
                  </a:cubicBezTo>
                  <a:cubicBezTo>
                    <a:pt x="142399" y="301466"/>
                    <a:pt x="168116" y="310039"/>
                    <a:pt x="202406" y="310039"/>
                  </a:cubicBezTo>
                  <a:cubicBezTo>
                    <a:pt x="222409" y="310039"/>
                    <a:pt x="240506" y="308134"/>
                    <a:pt x="257651" y="304324"/>
                  </a:cubicBezTo>
                  <a:cubicBezTo>
                    <a:pt x="261461" y="303371"/>
                    <a:pt x="266224" y="302419"/>
                    <a:pt x="269081" y="301466"/>
                  </a:cubicBezTo>
                  <a:cubicBezTo>
                    <a:pt x="284322" y="297656"/>
                    <a:pt x="298609" y="308134"/>
                    <a:pt x="301466" y="323374"/>
                  </a:cubicBezTo>
                  <a:lnTo>
                    <a:pt x="307181" y="360521"/>
                  </a:lnTo>
                  <a:cubicBezTo>
                    <a:pt x="302419" y="362426"/>
                    <a:pt x="296704" y="365284"/>
                    <a:pt x="288131" y="368141"/>
                  </a:cubicBezTo>
                  <a:cubicBezTo>
                    <a:pt x="280511" y="370999"/>
                    <a:pt x="270986" y="372904"/>
                    <a:pt x="260509" y="374809"/>
                  </a:cubicBezTo>
                  <a:cubicBezTo>
                    <a:pt x="250031" y="376714"/>
                    <a:pt x="239554" y="378619"/>
                    <a:pt x="227172" y="379571"/>
                  </a:cubicBezTo>
                  <a:cubicBezTo>
                    <a:pt x="214789" y="380524"/>
                    <a:pt x="203359" y="381476"/>
                    <a:pt x="190976" y="381476"/>
                  </a:cubicBezTo>
                  <a:cubicBezTo>
                    <a:pt x="159544" y="381476"/>
                    <a:pt x="131922" y="376714"/>
                    <a:pt x="109061" y="367189"/>
                  </a:cubicBezTo>
                  <a:cubicBezTo>
                    <a:pt x="86201" y="357664"/>
                    <a:pt x="67151" y="345281"/>
                    <a:pt x="51911" y="328136"/>
                  </a:cubicBezTo>
                  <a:cubicBezTo>
                    <a:pt x="36672" y="311944"/>
                    <a:pt x="26194" y="291941"/>
                    <a:pt x="18574" y="269081"/>
                  </a:cubicBezTo>
                  <a:cubicBezTo>
                    <a:pt x="10954" y="248126"/>
                    <a:pt x="7144" y="223361"/>
                    <a:pt x="7144" y="196691"/>
                  </a:cubicBezTo>
                  <a:close/>
                  <a:moveTo>
                    <a:pt x="246222" y="159544"/>
                  </a:moveTo>
                  <a:cubicBezTo>
                    <a:pt x="246222" y="148114"/>
                    <a:pt x="244316" y="137636"/>
                    <a:pt x="241459" y="127159"/>
                  </a:cubicBezTo>
                  <a:cubicBezTo>
                    <a:pt x="238601" y="116681"/>
                    <a:pt x="233839" y="108109"/>
                    <a:pt x="227172" y="100489"/>
                  </a:cubicBezTo>
                  <a:cubicBezTo>
                    <a:pt x="221456" y="92869"/>
                    <a:pt x="213836" y="87154"/>
                    <a:pt x="204311" y="82391"/>
                  </a:cubicBezTo>
                  <a:cubicBezTo>
                    <a:pt x="195739" y="77629"/>
                    <a:pt x="185261" y="75724"/>
                    <a:pt x="172879" y="75724"/>
                  </a:cubicBezTo>
                  <a:cubicBezTo>
                    <a:pt x="160497" y="75724"/>
                    <a:pt x="149066" y="78581"/>
                    <a:pt x="139541" y="83344"/>
                  </a:cubicBezTo>
                  <a:cubicBezTo>
                    <a:pt x="130016" y="88106"/>
                    <a:pt x="121444" y="94774"/>
                    <a:pt x="115729" y="102394"/>
                  </a:cubicBezTo>
                  <a:cubicBezTo>
                    <a:pt x="110014" y="110014"/>
                    <a:pt x="104299" y="118586"/>
                    <a:pt x="100489" y="129064"/>
                  </a:cubicBezTo>
                  <a:cubicBezTo>
                    <a:pt x="96679" y="139541"/>
                    <a:pt x="94774" y="149066"/>
                    <a:pt x="92869" y="159544"/>
                  </a:cubicBezTo>
                  <a:lnTo>
                    <a:pt x="246222" y="159544"/>
                  </a:ln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8" name="Freeform: Shape 4">
              <a:extLst>
                <a:ext uri="{FF2B5EF4-FFF2-40B4-BE49-F238E27FC236}">
                  <a16:creationId xmlns:a16="http://schemas.microsoft.com/office/drawing/2014/main" id="{EF0CD45A-7908-EA78-9C8B-9B16CEB082F9}"/>
                </a:ext>
              </a:extLst>
            </p:cNvPr>
            <p:cNvSpPr/>
            <p:nvPr/>
          </p:nvSpPr>
          <p:spPr>
            <a:xfrm>
              <a:off x="7182323" y="1317145"/>
              <a:ext cx="114301" cy="114301"/>
            </a:xfrm>
            <a:custGeom>
              <a:avLst/>
              <a:gdLst>
                <a:gd name="connsiteX0" fmla="*/ 109061 w 114300"/>
                <a:gd name="connsiteY0" fmla="*/ 58579 h 114300"/>
                <a:gd name="connsiteX1" fmla="*/ 93821 w 114300"/>
                <a:gd name="connsiteY1" fmla="*/ 95726 h 114300"/>
                <a:gd name="connsiteX2" fmla="*/ 58579 w 114300"/>
                <a:gd name="connsiteY2" fmla="*/ 109061 h 114300"/>
                <a:gd name="connsiteX3" fmla="*/ 22384 w 114300"/>
                <a:gd name="connsiteY3" fmla="*/ 95726 h 114300"/>
                <a:gd name="connsiteX4" fmla="*/ 7144 w 114300"/>
                <a:gd name="connsiteY4" fmla="*/ 58579 h 114300"/>
                <a:gd name="connsiteX5" fmla="*/ 22384 w 114300"/>
                <a:gd name="connsiteY5" fmla="*/ 20479 h 114300"/>
                <a:gd name="connsiteX6" fmla="*/ 58579 w 114300"/>
                <a:gd name="connsiteY6" fmla="*/ 7144 h 114300"/>
                <a:gd name="connsiteX7" fmla="*/ 93821 w 114300"/>
                <a:gd name="connsiteY7" fmla="*/ 20479 h 114300"/>
                <a:gd name="connsiteX8" fmla="*/ 109061 w 114300"/>
                <a:gd name="connsiteY8" fmla="*/ 58579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9061" y="58579"/>
                  </a:moveTo>
                  <a:cubicBezTo>
                    <a:pt x="109061" y="73819"/>
                    <a:pt x="104299" y="86201"/>
                    <a:pt x="93821" y="95726"/>
                  </a:cubicBezTo>
                  <a:cubicBezTo>
                    <a:pt x="83344" y="105251"/>
                    <a:pt x="71914" y="109061"/>
                    <a:pt x="58579" y="109061"/>
                  </a:cubicBezTo>
                  <a:cubicBezTo>
                    <a:pt x="44291" y="109061"/>
                    <a:pt x="31909" y="104299"/>
                    <a:pt x="22384" y="95726"/>
                  </a:cubicBezTo>
                  <a:cubicBezTo>
                    <a:pt x="11906" y="86201"/>
                    <a:pt x="7144" y="73819"/>
                    <a:pt x="7144" y="58579"/>
                  </a:cubicBezTo>
                  <a:cubicBezTo>
                    <a:pt x="7144" y="42386"/>
                    <a:pt x="11906" y="30004"/>
                    <a:pt x="22384" y="20479"/>
                  </a:cubicBezTo>
                  <a:cubicBezTo>
                    <a:pt x="32861" y="10954"/>
                    <a:pt x="44291" y="7144"/>
                    <a:pt x="58579" y="7144"/>
                  </a:cubicBezTo>
                  <a:cubicBezTo>
                    <a:pt x="71914" y="7144"/>
                    <a:pt x="84296" y="11906"/>
                    <a:pt x="93821" y="20479"/>
                  </a:cubicBezTo>
                  <a:cubicBezTo>
                    <a:pt x="104299" y="30004"/>
                    <a:pt x="109061" y="43339"/>
                    <a:pt x="109061" y="5857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9" name="Freeform: Shape 5">
              <a:extLst>
                <a:ext uri="{FF2B5EF4-FFF2-40B4-BE49-F238E27FC236}">
                  <a16:creationId xmlns:a16="http://schemas.microsoft.com/office/drawing/2014/main" id="{0C4690BD-AAE1-5429-08DE-6615425FFF7E}"/>
                </a:ext>
              </a:extLst>
            </p:cNvPr>
            <p:cNvSpPr/>
            <p:nvPr/>
          </p:nvSpPr>
          <p:spPr>
            <a:xfrm>
              <a:off x="7192800" y="1473355"/>
              <a:ext cx="95250" cy="371475"/>
            </a:xfrm>
            <a:custGeom>
              <a:avLst/>
              <a:gdLst>
                <a:gd name="connsiteX0" fmla="*/ 90011 w 95250"/>
                <a:gd name="connsiteY0" fmla="*/ 366236 h 371475"/>
                <a:gd name="connsiteX1" fmla="*/ 67151 w 95250"/>
                <a:gd name="connsiteY1" fmla="*/ 366236 h 371475"/>
                <a:gd name="connsiteX2" fmla="*/ 7144 w 95250"/>
                <a:gd name="connsiteY2" fmla="*/ 306229 h 371475"/>
                <a:gd name="connsiteX3" fmla="*/ 7144 w 95250"/>
                <a:gd name="connsiteY3" fmla="*/ 7144 h 371475"/>
                <a:gd name="connsiteX4" fmla="*/ 35719 w 95250"/>
                <a:gd name="connsiteY4" fmla="*/ 7144 h 371475"/>
                <a:gd name="connsiteX5" fmla="*/ 90011 w 95250"/>
                <a:gd name="connsiteY5" fmla="*/ 62389 h 371475"/>
                <a:gd name="connsiteX6" fmla="*/ 90011 w 95250"/>
                <a:gd name="connsiteY6" fmla="*/ 366236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250" h="371475">
                  <a:moveTo>
                    <a:pt x="90011" y="366236"/>
                  </a:moveTo>
                  <a:lnTo>
                    <a:pt x="67151" y="366236"/>
                  </a:lnTo>
                  <a:cubicBezTo>
                    <a:pt x="33814" y="366236"/>
                    <a:pt x="7144" y="339566"/>
                    <a:pt x="7144" y="306229"/>
                  </a:cubicBezTo>
                  <a:lnTo>
                    <a:pt x="7144" y="7144"/>
                  </a:lnTo>
                  <a:lnTo>
                    <a:pt x="35719" y="7144"/>
                  </a:lnTo>
                  <a:cubicBezTo>
                    <a:pt x="66199" y="7144"/>
                    <a:pt x="90011" y="31909"/>
                    <a:pt x="90011" y="62389"/>
                  </a:cubicBezTo>
                  <a:lnTo>
                    <a:pt x="90011" y="366236"/>
                  </a:ln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0" name="Freeform: Shape 6">
              <a:extLst>
                <a:ext uri="{FF2B5EF4-FFF2-40B4-BE49-F238E27FC236}">
                  <a16:creationId xmlns:a16="http://schemas.microsoft.com/office/drawing/2014/main" id="{E98349BB-C39C-6C74-08A6-A43B9DDA6B11}"/>
                </a:ext>
              </a:extLst>
            </p:cNvPr>
            <p:cNvSpPr/>
            <p:nvPr/>
          </p:nvSpPr>
          <p:spPr>
            <a:xfrm>
              <a:off x="7637617" y="1474308"/>
              <a:ext cx="352426" cy="371475"/>
            </a:xfrm>
            <a:custGeom>
              <a:avLst/>
              <a:gdLst>
                <a:gd name="connsiteX0" fmla="*/ 287179 w 352425"/>
                <a:gd name="connsiteY0" fmla="*/ 7144 h 371475"/>
                <a:gd name="connsiteX1" fmla="*/ 250031 w 352425"/>
                <a:gd name="connsiteY1" fmla="*/ 43339 h 371475"/>
                <a:gd name="connsiteX2" fmla="*/ 179547 w 352425"/>
                <a:gd name="connsiteY2" fmla="*/ 246221 h 371475"/>
                <a:gd name="connsiteX3" fmla="*/ 106204 w 352425"/>
                <a:gd name="connsiteY3" fmla="*/ 47149 h 371475"/>
                <a:gd name="connsiteX4" fmla="*/ 68104 w 352425"/>
                <a:gd name="connsiteY4" fmla="*/ 7144 h 371475"/>
                <a:gd name="connsiteX5" fmla="*/ 27147 w 352425"/>
                <a:gd name="connsiteY5" fmla="*/ 7144 h 371475"/>
                <a:gd name="connsiteX6" fmla="*/ 7144 w 352425"/>
                <a:gd name="connsiteY6" fmla="*/ 7144 h 371475"/>
                <a:gd name="connsiteX7" fmla="*/ 130969 w 352425"/>
                <a:gd name="connsiteY7" fmla="*/ 329089 h 371475"/>
                <a:gd name="connsiteX8" fmla="*/ 171927 w 352425"/>
                <a:gd name="connsiteY8" fmla="*/ 365284 h 371475"/>
                <a:gd name="connsiteX9" fmla="*/ 213836 w 352425"/>
                <a:gd name="connsiteY9" fmla="*/ 365284 h 371475"/>
                <a:gd name="connsiteX10" fmla="*/ 350044 w 352425"/>
                <a:gd name="connsiteY10" fmla="*/ 7144 h 371475"/>
                <a:gd name="connsiteX11" fmla="*/ 287179 w 352425"/>
                <a:gd name="connsiteY11" fmla="*/ 7144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52425" h="371475">
                  <a:moveTo>
                    <a:pt x="287179" y="7144"/>
                  </a:moveTo>
                  <a:cubicBezTo>
                    <a:pt x="265272" y="7144"/>
                    <a:pt x="259556" y="18574"/>
                    <a:pt x="250031" y="43339"/>
                  </a:cubicBezTo>
                  <a:lnTo>
                    <a:pt x="179547" y="246221"/>
                  </a:lnTo>
                  <a:lnTo>
                    <a:pt x="106204" y="47149"/>
                  </a:lnTo>
                  <a:cubicBezTo>
                    <a:pt x="97631" y="21431"/>
                    <a:pt x="90011" y="7144"/>
                    <a:pt x="68104" y="7144"/>
                  </a:cubicBezTo>
                  <a:lnTo>
                    <a:pt x="27147" y="7144"/>
                  </a:lnTo>
                  <a:lnTo>
                    <a:pt x="7144" y="7144"/>
                  </a:lnTo>
                  <a:lnTo>
                    <a:pt x="130969" y="329089"/>
                  </a:lnTo>
                  <a:cubicBezTo>
                    <a:pt x="142399" y="352901"/>
                    <a:pt x="150019" y="365284"/>
                    <a:pt x="171927" y="365284"/>
                  </a:cubicBezTo>
                  <a:lnTo>
                    <a:pt x="213836" y="365284"/>
                  </a:lnTo>
                  <a:lnTo>
                    <a:pt x="350044" y="7144"/>
                  </a:lnTo>
                  <a:lnTo>
                    <a:pt x="287179" y="7144"/>
                  </a:ln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1" name="Freeform: Shape 7">
              <a:extLst>
                <a:ext uri="{FF2B5EF4-FFF2-40B4-BE49-F238E27FC236}">
                  <a16:creationId xmlns:a16="http://schemas.microsoft.com/office/drawing/2014/main" id="{A6A901A7-98C8-600C-7B51-1E427F83BE28}"/>
                </a:ext>
              </a:extLst>
            </p:cNvPr>
            <p:cNvSpPr/>
            <p:nvPr/>
          </p:nvSpPr>
          <p:spPr>
            <a:xfrm>
              <a:off x="7326150" y="1464782"/>
              <a:ext cx="314325" cy="381000"/>
            </a:xfrm>
            <a:custGeom>
              <a:avLst/>
              <a:gdLst>
                <a:gd name="connsiteX0" fmla="*/ 300514 w 314325"/>
                <a:gd name="connsiteY0" fmla="*/ 105251 h 381000"/>
                <a:gd name="connsiteX1" fmla="*/ 275749 w 314325"/>
                <a:gd name="connsiteY1" fmla="*/ 52864 h 381000"/>
                <a:gd name="connsiteX2" fmla="*/ 229076 w 314325"/>
                <a:gd name="connsiteY2" fmla="*/ 19526 h 381000"/>
                <a:gd name="connsiteX3" fmla="*/ 155734 w 314325"/>
                <a:gd name="connsiteY3" fmla="*/ 7144 h 381000"/>
                <a:gd name="connsiteX4" fmla="*/ 70009 w 314325"/>
                <a:gd name="connsiteY4" fmla="*/ 13811 h 381000"/>
                <a:gd name="connsiteX5" fmla="*/ 7144 w 314325"/>
                <a:gd name="connsiteY5" fmla="*/ 27146 h 381000"/>
                <a:gd name="connsiteX6" fmla="*/ 7144 w 314325"/>
                <a:gd name="connsiteY6" fmla="*/ 329089 h 381000"/>
                <a:gd name="connsiteX7" fmla="*/ 7144 w 314325"/>
                <a:gd name="connsiteY7" fmla="*/ 329089 h 381000"/>
                <a:gd name="connsiteX8" fmla="*/ 7144 w 314325"/>
                <a:gd name="connsiteY8" fmla="*/ 338614 h 381000"/>
                <a:gd name="connsiteX9" fmla="*/ 44291 w 314325"/>
                <a:gd name="connsiteY9" fmla="*/ 375761 h 381000"/>
                <a:gd name="connsiteX10" fmla="*/ 45244 w 314325"/>
                <a:gd name="connsiteY10" fmla="*/ 375761 h 381000"/>
                <a:gd name="connsiteX11" fmla="*/ 45244 w 314325"/>
                <a:gd name="connsiteY11" fmla="*/ 375761 h 381000"/>
                <a:gd name="connsiteX12" fmla="*/ 90964 w 314325"/>
                <a:gd name="connsiteY12" fmla="*/ 375761 h 381000"/>
                <a:gd name="connsiteX13" fmla="*/ 90964 w 314325"/>
                <a:gd name="connsiteY13" fmla="*/ 84296 h 381000"/>
                <a:gd name="connsiteX14" fmla="*/ 116682 w 314325"/>
                <a:gd name="connsiteY14" fmla="*/ 80486 h 381000"/>
                <a:gd name="connsiteX15" fmla="*/ 150019 w 314325"/>
                <a:gd name="connsiteY15" fmla="*/ 78581 h 381000"/>
                <a:gd name="connsiteX16" fmla="*/ 186214 w 314325"/>
                <a:gd name="connsiteY16" fmla="*/ 84296 h 381000"/>
                <a:gd name="connsiteX17" fmla="*/ 210026 w 314325"/>
                <a:gd name="connsiteY17" fmla="*/ 102394 h 381000"/>
                <a:gd name="connsiteX18" fmla="*/ 222409 w 314325"/>
                <a:gd name="connsiteY18" fmla="*/ 135731 h 381000"/>
                <a:gd name="connsiteX19" fmla="*/ 226219 w 314325"/>
                <a:gd name="connsiteY19" fmla="*/ 185261 h 381000"/>
                <a:gd name="connsiteX20" fmla="*/ 226219 w 314325"/>
                <a:gd name="connsiteY20" fmla="*/ 328136 h 381000"/>
                <a:gd name="connsiteX21" fmla="*/ 226219 w 314325"/>
                <a:gd name="connsiteY21" fmla="*/ 328136 h 381000"/>
                <a:gd name="connsiteX22" fmla="*/ 226219 w 314325"/>
                <a:gd name="connsiteY22" fmla="*/ 337661 h 381000"/>
                <a:gd name="connsiteX23" fmla="*/ 263366 w 314325"/>
                <a:gd name="connsiteY23" fmla="*/ 374809 h 381000"/>
                <a:gd name="connsiteX24" fmla="*/ 263366 w 314325"/>
                <a:gd name="connsiteY24" fmla="*/ 374809 h 381000"/>
                <a:gd name="connsiteX25" fmla="*/ 310039 w 314325"/>
                <a:gd name="connsiteY25" fmla="*/ 374809 h 381000"/>
                <a:gd name="connsiteX26" fmla="*/ 310039 w 314325"/>
                <a:gd name="connsiteY26" fmla="*/ 172879 h 381000"/>
                <a:gd name="connsiteX27" fmla="*/ 300514 w 314325"/>
                <a:gd name="connsiteY27" fmla="*/ 105251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14325" h="381000">
                  <a:moveTo>
                    <a:pt x="300514" y="105251"/>
                  </a:moveTo>
                  <a:cubicBezTo>
                    <a:pt x="295751" y="85249"/>
                    <a:pt x="287179" y="67151"/>
                    <a:pt x="275749" y="52864"/>
                  </a:cubicBezTo>
                  <a:cubicBezTo>
                    <a:pt x="264319" y="38576"/>
                    <a:pt x="248126" y="27146"/>
                    <a:pt x="229076" y="19526"/>
                  </a:cubicBezTo>
                  <a:cubicBezTo>
                    <a:pt x="209074" y="11906"/>
                    <a:pt x="185261" y="7144"/>
                    <a:pt x="155734" y="7144"/>
                  </a:cubicBezTo>
                  <a:cubicBezTo>
                    <a:pt x="124301" y="7144"/>
                    <a:pt x="95726" y="9049"/>
                    <a:pt x="70009" y="13811"/>
                  </a:cubicBezTo>
                  <a:cubicBezTo>
                    <a:pt x="44291" y="17621"/>
                    <a:pt x="23336" y="22384"/>
                    <a:pt x="7144" y="27146"/>
                  </a:cubicBezTo>
                  <a:lnTo>
                    <a:pt x="7144" y="329089"/>
                  </a:lnTo>
                  <a:lnTo>
                    <a:pt x="7144" y="329089"/>
                  </a:lnTo>
                  <a:lnTo>
                    <a:pt x="7144" y="338614"/>
                  </a:lnTo>
                  <a:cubicBezTo>
                    <a:pt x="7144" y="358616"/>
                    <a:pt x="23336" y="375761"/>
                    <a:pt x="44291" y="375761"/>
                  </a:cubicBezTo>
                  <a:lnTo>
                    <a:pt x="45244" y="375761"/>
                  </a:lnTo>
                  <a:lnTo>
                    <a:pt x="45244" y="375761"/>
                  </a:lnTo>
                  <a:lnTo>
                    <a:pt x="90964" y="375761"/>
                  </a:lnTo>
                  <a:lnTo>
                    <a:pt x="90964" y="84296"/>
                  </a:lnTo>
                  <a:cubicBezTo>
                    <a:pt x="96679" y="83344"/>
                    <a:pt x="105251" y="82391"/>
                    <a:pt x="116682" y="80486"/>
                  </a:cubicBezTo>
                  <a:cubicBezTo>
                    <a:pt x="128111" y="79534"/>
                    <a:pt x="139541" y="78581"/>
                    <a:pt x="150019" y="78581"/>
                  </a:cubicBezTo>
                  <a:cubicBezTo>
                    <a:pt x="164307" y="78581"/>
                    <a:pt x="176689" y="80486"/>
                    <a:pt x="186214" y="84296"/>
                  </a:cubicBezTo>
                  <a:cubicBezTo>
                    <a:pt x="195739" y="88106"/>
                    <a:pt x="204311" y="94774"/>
                    <a:pt x="210026" y="102394"/>
                  </a:cubicBezTo>
                  <a:cubicBezTo>
                    <a:pt x="215741" y="110966"/>
                    <a:pt x="219551" y="121444"/>
                    <a:pt x="222409" y="135731"/>
                  </a:cubicBezTo>
                  <a:cubicBezTo>
                    <a:pt x="225266" y="149066"/>
                    <a:pt x="226219" y="165259"/>
                    <a:pt x="226219" y="185261"/>
                  </a:cubicBezTo>
                  <a:lnTo>
                    <a:pt x="226219" y="328136"/>
                  </a:lnTo>
                  <a:lnTo>
                    <a:pt x="226219" y="328136"/>
                  </a:lnTo>
                  <a:lnTo>
                    <a:pt x="226219" y="337661"/>
                  </a:lnTo>
                  <a:cubicBezTo>
                    <a:pt x="226219" y="357664"/>
                    <a:pt x="242411" y="374809"/>
                    <a:pt x="263366" y="374809"/>
                  </a:cubicBezTo>
                  <a:lnTo>
                    <a:pt x="263366" y="374809"/>
                  </a:lnTo>
                  <a:lnTo>
                    <a:pt x="310039" y="374809"/>
                  </a:lnTo>
                  <a:lnTo>
                    <a:pt x="310039" y="172879"/>
                  </a:lnTo>
                  <a:cubicBezTo>
                    <a:pt x="308134" y="148114"/>
                    <a:pt x="305276" y="126206"/>
                    <a:pt x="300514" y="1052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2" name="Freeform: Shape 8">
              <a:extLst>
                <a:ext uri="{FF2B5EF4-FFF2-40B4-BE49-F238E27FC236}">
                  <a16:creationId xmlns:a16="http://schemas.microsoft.com/office/drawing/2014/main" id="{0EE4B1F2-88A7-5D1C-5483-7BC9B3C281DA}"/>
                </a:ext>
              </a:extLst>
            </p:cNvPr>
            <p:cNvSpPr/>
            <p:nvPr/>
          </p:nvSpPr>
          <p:spPr>
            <a:xfrm>
              <a:off x="8331989" y="1464782"/>
              <a:ext cx="314325" cy="381000"/>
            </a:xfrm>
            <a:custGeom>
              <a:avLst/>
              <a:gdLst>
                <a:gd name="connsiteX0" fmla="*/ 300514 w 314325"/>
                <a:gd name="connsiteY0" fmla="*/ 105251 h 381000"/>
                <a:gd name="connsiteX1" fmla="*/ 275749 w 314325"/>
                <a:gd name="connsiteY1" fmla="*/ 52864 h 381000"/>
                <a:gd name="connsiteX2" fmla="*/ 229076 w 314325"/>
                <a:gd name="connsiteY2" fmla="*/ 19526 h 381000"/>
                <a:gd name="connsiteX3" fmla="*/ 155734 w 314325"/>
                <a:gd name="connsiteY3" fmla="*/ 7144 h 381000"/>
                <a:gd name="connsiteX4" fmla="*/ 70009 w 314325"/>
                <a:gd name="connsiteY4" fmla="*/ 13811 h 381000"/>
                <a:gd name="connsiteX5" fmla="*/ 7144 w 314325"/>
                <a:gd name="connsiteY5" fmla="*/ 27146 h 381000"/>
                <a:gd name="connsiteX6" fmla="*/ 7144 w 314325"/>
                <a:gd name="connsiteY6" fmla="*/ 329089 h 381000"/>
                <a:gd name="connsiteX7" fmla="*/ 7144 w 314325"/>
                <a:gd name="connsiteY7" fmla="*/ 329089 h 381000"/>
                <a:gd name="connsiteX8" fmla="*/ 7144 w 314325"/>
                <a:gd name="connsiteY8" fmla="*/ 338614 h 381000"/>
                <a:gd name="connsiteX9" fmla="*/ 44291 w 314325"/>
                <a:gd name="connsiteY9" fmla="*/ 375761 h 381000"/>
                <a:gd name="connsiteX10" fmla="*/ 45244 w 314325"/>
                <a:gd name="connsiteY10" fmla="*/ 375761 h 381000"/>
                <a:gd name="connsiteX11" fmla="*/ 45244 w 314325"/>
                <a:gd name="connsiteY11" fmla="*/ 375761 h 381000"/>
                <a:gd name="connsiteX12" fmla="*/ 90964 w 314325"/>
                <a:gd name="connsiteY12" fmla="*/ 375761 h 381000"/>
                <a:gd name="connsiteX13" fmla="*/ 90964 w 314325"/>
                <a:gd name="connsiteY13" fmla="*/ 84296 h 381000"/>
                <a:gd name="connsiteX14" fmla="*/ 116681 w 314325"/>
                <a:gd name="connsiteY14" fmla="*/ 80486 h 381000"/>
                <a:gd name="connsiteX15" fmla="*/ 150019 w 314325"/>
                <a:gd name="connsiteY15" fmla="*/ 78581 h 381000"/>
                <a:gd name="connsiteX16" fmla="*/ 186214 w 314325"/>
                <a:gd name="connsiteY16" fmla="*/ 84296 h 381000"/>
                <a:gd name="connsiteX17" fmla="*/ 210026 w 314325"/>
                <a:gd name="connsiteY17" fmla="*/ 102394 h 381000"/>
                <a:gd name="connsiteX18" fmla="*/ 222409 w 314325"/>
                <a:gd name="connsiteY18" fmla="*/ 135731 h 381000"/>
                <a:gd name="connsiteX19" fmla="*/ 226219 w 314325"/>
                <a:gd name="connsiteY19" fmla="*/ 185261 h 381000"/>
                <a:gd name="connsiteX20" fmla="*/ 226219 w 314325"/>
                <a:gd name="connsiteY20" fmla="*/ 328136 h 381000"/>
                <a:gd name="connsiteX21" fmla="*/ 226219 w 314325"/>
                <a:gd name="connsiteY21" fmla="*/ 328136 h 381000"/>
                <a:gd name="connsiteX22" fmla="*/ 226219 w 314325"/>
                <a:gd name="connsiteY22" fmla="*/ 337661 h 381000"/>
                <a:gd name="connsiteX23" fmla="*/ 263366 w 314325"/>
                <a:gd name="connsiteY23" fmla="*/ 374809 h 381000"/>
                <a:gd name="connsiteX24" fmla="*/ 263366 w 314325"/>
                <a:gd name="connsiteY24" fmla="*/ 374809 h 381000"/>
                <a:gd name="connsiteX25" fmla="*/ 310039 w 314325"/>
                <a:gd name="connsiteY25" fmla="*/ 374809 h 381000"/>
                <a:gd name="connsiteX26" fmla="*/ 310039 w 314325"/>
                <a:gd name="connsiteY26" fmla="*/ 172879 h 381000"/>
                <a:gd name="connsiteX27" fmla="*/ 300514 w 314325"/>
                <a:gd name="connsiteY27" fmla="*/ 105251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14325" h="381000">
                  <a:moveTo>
                    <a:pt x="300514" y="105251"/>
                  </a:moveTo>
                  <a:cubicBezTo>
                    <a:pt x="295751" y="85249"/>
                    <a:pt x="287179" y="67151"/>
                    <a:pt x="275749" y="52864"/>
                  </a:cubicBezTo>
                  <a:cubicBezTo>
                    <a:pt x="264319" y="38576"/>
                    <a:pt x="248126" y="27146"/>
                    <a:pt x="229076" y="19526"/>
                  </a:cubicBezTo>
                  <a:cubicBezTo>
                    <a:pt x="209074" y="11906"/>
                    <a:pt x="185261" y="7144"/>
                    <a:pt x="155734" y="7144"/>
                  </a:cubicBezTo>
                  <a:cubicBezTo>
                    <a:pt x="124301" y="7144"/>
                    <a:pt x="95726" y="9049"/>
                    <a:pt x="70009" y="13811"/>
                  </a:cubicBezTo>
                  <a:cubicBezTo>
                    <a:pt x="44291" y="17621"/>
                    <a:pt x="23336" y="22384"/>
                    <a:pt x="7144" y="27146"/>
                  </a:cubicBezTo>
                  <a:lnTo>
                    <a:pt x="7144" y="329089"/>
                  </a:lnTo>
                  <a:lnTo>
                    <a:pt x="7144" y="329089"/>
                  </a:lnTo>
                  <a:lnTo>
                    <a:pt x="7144" y="338614"/>
                  </a:lnTo>
                  <a:cubicBezTo>
                    <a:pt x="7144" y="358616"/>
                    <a:pt x="23336" y="375761"/>
                    <a:pt x="44291" y="375761"/>
                  </a:cubicBezTo>
                  <a:lnTo>
                    <a:pt x="45244" y="375761"/>
                  </a:lnTo>
                  <a:lnTo>
                    <a:pt x="45244" y="375761"/>
                  </a:lnTo>
                  <a:lnTo>
                    <a:pt x="90964" y="375761"/>
                  </a:lnTo>
                  <a:lnTo>
                    <a:pt x="90964" y="84296"/>
                  </a:lnTo>
                  <a:cubicBezTo>
                    <a:pt x="96679" y="83344"/>
                    <a:pt x="105251" y="82391"/>
                    <a:pt x="116681" y="80486"/>
                  </a:cubicBezTo>
                  <a:cubicBezTo>
                    <a:pt x="128111" y="79534"/>
                    <a:pt x="139541" y="78581"/>
                    <a:pt x="150019" y="78581"/>
                  </a:cubicBezTo>
                  <a:cubicBezTo>
                    <a:pt x="164306" y="78581"/>
                    <a:pt x="176689" y="80486"/>
                    <a:pt x="186214" y="84296"/>
                  </a:cubicBezTo>
                  <a:cubicBezTo>
                    <a:pt x="195739" y="88106"/>
                    <a:pt x="204311" y="94774"/>
                    <a:pt x="210026" y="102394"/>
                  </a:cubicBezTo>
                  <a:cubicBezTo>
                    <a:pt x="215741" y="110966"/>
                    <a:pt x="219551" y="121444"/>
                    <a:pt x="222409" y="135731"/>
                  </a:cubicBezTo>
                  <a:cubicBezTo>
                    <a:pt x="225266" y="149066"/>
                    <a:pt x="226219" y="165259"/>
                    <a:pt x="226219" y="185261"/>
                  </a:cubicBezTo>
                  <a:lnTo>
                    <a:pt x="226219" y="328136"/>
                  </a:lnTo>
                  <a:lnTo>
                    <a:pt x="226219" y="328136"/>
                  </a:lnTo>
                  <a:lnTo>
                    <a:pt x="226219" y="337661"/>
                  </a:lnTo>
                  <a:cubicBezTo>
                    <a:pt x="226219" y="357664"/>
                    <a:pt x="242411" y="374809"/>
                    <a:pt x="263366" y="374809"/>
                  </a:cubicBezTo>
                  <a:lnTo>
                    <a:pt x="263366" y="374809"/>
                  </a:lnTo>
                  <a:lnTo>
                    <a:pt x="310039" y="374809"/>
                  </a:lnTo>
                  <a:lnTo>
                    <a:pt x="310039" y="172879"/>
                  </a:lnTo>
                  <a:cubicBezTo>
                    <a:pt x="307181" y="148114"/>
                    <a:pt x="305276" y="126206"/>
                    <a:pt x="300514" y="1052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3" name="Freeform: Shape 17">
              <a:extLst>
                <a:ext uri="{FF2B5EF4-FFF2-40B4-BE49-F238E27FC236}">
                  <a16:creationId xmlns:a16="http://schemas.microsoft.com/office/drawing/2014/main" id="{C9353817-77E7-C0A8-A6A6-FEF871C81D19}"/>
                </a:ext>
              </a:extLst>
            </p:cNvPr>
            <p:cNvSpPr/>
            <p:nvPr/>
          </p:nvSpPr>
          <p:spPr>
            <a:xfrm>
              <a:off x="6619395" y="1521933"/>
              <a:ext cx="457199" cy="371475"/>
            </a:xfrm>
            <a:custGeom>
              <a:avLst/>
              <a:gdLst>
                <a:gd name="connsiteX0" fmla="*/ 304324 w 457200"/>
                <a:gd name="connsiteY0" fmla="*/ 261461 h 371475"/>
                <a:gd name="connsiteX1" fmla="*/ 456724 w 457200"/>
                <a:gd name="connsiteY1" fmla="*/ 110014 h 371475"/>
                <a:gd name="connsiteX2" fmla="*/ 344329 w 457200"/>
                <a:gd name="connsiteY2" fmla="*/ 7144 h 371475"/>
                <a:gd name="connsiteX3" fmla="*/ 125254 w 457200"/>
                <a:gd name="connsiteY3" fmla="*/ 241459 h 371475"/>
                <a:gd name="connsiteX4" fmla="*/ 7144 w 457200"/>
                <a:gd name="connsiteY4" fmla="*/ 348139 h 371475"/>
                <a:gd name="connsiteX5" fmla="*/ 96679 w 457200"/>
                <a:gd name="connsiteY5" fmla="*/ 372904 h 371475"/>
                <a:gd name="connsiteX6" fmla="*/ 306229 w 457200"/>
                <a:gd name="connsiteY6" fmla="*/ 304324 h 371475"/>
                <a:gd name="connsiteX7" fmla="*/ 200501 w 457200"/>
                <a:gd name="connsiteY7" fmla="*/ 210026 h 371475"/>
                <a:gd name="connsiteX8" fmla="*/ 304324 w 457200"/>
                <a:gd name="connsiteY8" fmla="*/ 26146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7200" h="371475">
                  <a:moveTo>
                    <a:pt x="304324" y="261461"/>
                  </a:moveTo>
                  <a:cubicBezTo>
                    <a:pt x="390049" y="261461"/>
                    <a:pt x="455771" y="191929"/>
                    <a:pt x="456724" y="110014"/>
                  </a:cubicBezTo>
                  <a:cubicBezTo>
                    <a:pt x="451009" y="73819"/>
                    <a:pt x="438626" y="7144"/>
                    <a:pt x="344329" y="7144"/>
                  </a:cubicBezTo>
                  <a:cubicBezTo>
                    <a:pt x="242411" y="7144"/>
                    <a:pt x="208121" y="150019"/>
                    <a:pt x="125254" y="241459"/>
                  </a:cubicBezTo>
                  <a:cubicBezTo>
                    <a:pt x="118586" y="293846"/>
                    <a:pt x="69056" y="340519"/>
                    <a:pt x="7144" y="348139"/>
                  </a:cubicBezTo>
                  <a:cubicBezTo>
                    <a:pt x="22384" y="364331"/>
                    <a:pt x="55721" y="372904"/>
                    <a:pt x="96679" y="372904"/>
                  </a:cubicBezTo>
                  <a:cubicBezTo>
                    <a:pt x="170021" y="372904"/>
                    <a:pt x="259556" y="350996"/>
                    <a:pt x="306229" y="304324"/>
                  </a:cubicBezTo>
                  <a:cubicBezTo>
                    <a:pt x="244316" y="305276"/>
                    <a:pt x="204311" y="265271"/>
                    <a:pt x="200501" y="210026"/>
                  </a:cubicBezTo>
                  <a:cubicBezTo>
                    <a:pt x="230029" y="247174"/>
                    <a:pt x="264319" y="261461"/>
                    <a:pt x="304324" y="261461"/>
                  </a:cubicBezTo>
                  <a:close/>
                </a:path>
              </a:pathLst>
            </a:custGeom>
            <a:solidFill>
              <a:srgbClr val="17ABDB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4" name="Freeform: Shape 22">
              <a:extLst>
                <a:ext uri="{FF2B5EF4-FFF2-40B4-BE49-F238E27FC236}">
                  <a16:creationId xmlns:a16="http://schemas.microsoft.com/office/drawing/2014/main" id="{658ECB81-9A66-15F0-E1F9-940467269271}"/>
                </a:ext>
              </a:extLst>
            </p:cNvPr>
            <p:cNvSpPr/>
            <p:nvPr/>
          </p:nvSpPr>
          <p:spPr>
            <a:xfrm>
              <a:off x="3176111" y="1268567"/>
              <a:ext cx="3171823" cy="866776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5" name="Freeform: Shape 23">
              <a:extLst>
                <a:ext uri="{FF2B5EF4-FFF2-40B4-BE49-F238E27FC236}">
                  <a16:creationId xmlns:a16="http://schemas.microsoft.com/office/drawing/2014/main" id="{FB0F0B63-7798-D38C-14C3-10C0E530B0EE}"/>
                </a:ext>
              </a:extLst>
            </p:cNvPr>
            <p:cNvSpPr/>
            <p:nvPr/>
          </p:nvSpPr>
          <p:spPr>
            <a:xfrm>
              <a:off x="5565899" y="1311398"/>
              <a:ext cx="95250" cy="104775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6" name="Freeform: Shape 24">
              <a:extLst>
                <a:ext uri="{FF2B5EF4-FFF2-40B4-BE49-F238E27FC236}">
                  <a16:creationId xmlns:a16="http://schemas.microsoft.com/office/drawing/2014/main" id="{06F5AFFA-C759-915B-E0F3-37C285500CB1}"/>
                </a:ext>
              </a:extLst>
            </p:cNvPr>
            <p:cNvSpPr/>
            <p:nvPr/>
          </p:nvSpPr>
          <p:spPr>
            <a:xfrm>
              <a:off x="6186959" y="1329492"/>
              <a:ext cx="95250" cy="95250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7" name="Freeform: Shape 25">
              <a:extLst>
                <a:ext uri="{FF2B5EF4-FFF2-40B4-BE49-F238E27FC236}">
                  <a16:creationId xmlns:a16="http://schemas.microsoft.com/office/drawing/2014/main" id="{51C0FA2C-EE3C-D9C2-41C2-BFF17664EA7E}"/>
                </a:ext>
              </a:extLst>
            </p:cNvPr>
            <p:cNvSpPr/>
            <p:nvPr/>
          </p:nvSpPr>
          <p:spPr>
            <a:xfrm>
              <a:off x="6386989" y="1257136"/>
              <a:ext cx="695324" cy="581025"/>
            </a:xfrm>
            <a:custGeom>
              <a:avLst/>
              <a:gdLst>
                <a:gd name="connsiteX0" fmla="*/ 689134 w 695325"/>
                <a:gd name="connsiteY0" fmla="*/ 368141 h 581025"/>
                <a:gd name="connsiteX1" fmla="*/ 571024 w 695325"/>
                <a:gd name="connsiteY1" fmla="*/ 127159 h 581025"/>
                <a:gd name="connsiteX2" fmla="*/ 388144 w 695325"/>
                <a:gd name="connsiteY2" fmla="*/ 13811 h 581025"/>
                <a:gd name="connsiteX3" fmla="*/ 371951 w 695325"/>
                <a:gd name="connsiteY3" fmla="*/ 7144 h 581025"/>
                <a:gd name="connsiteX4" fmla="*/ 371951 w 695325"/>
                <a:gd name="connsiteY4" fmla="*/ 7144 h 581025"/>
                <a:gd name="connsiteX5" fmla="*/ 371951 w 695325"/>
                <a:gd name="connsiteY5" fmla="*/ 7144 h 581025"/>
                <a:gd name="connsiteX6" fmla="*/ 7144 w 695325"/>
                <a:gd name="connsiteY6" fmla="*/ 383381 h 581025"/>
                <a:gd name="connsiteX7" fmla="*/ 132874 w 695325"/>
                <a:gd name="connsiteY7" fmla="*/ 569119 h 581025"/>
                <a:gd name="connsiteX8" fmla="*/ 262414 w 695325"/>
                <a:gd name="connsiteY8" fmla="*/ 571976 h 581025"/>
                <a:gd name="connsiteX9" fmla="*/ 358616 w 695325"/>
                <a:gd name="connsiteY9" fmla="*/ 506254 h 581025"/>
                <a:gd name="connsiteX10" fmla="*/ 577692 w 695325"/>
                <a:gd name="connsiteY10" fmla="*/ 271939 h 581025"/>
                <a:gd name="connsiteX11" fmla="*/ 690086 w 695325"/>
                <a:gd name="connsiteY11" fmla="*/ 374809 h 581025"/>
                <a:gd name="connsiteX12" fmla="*/ 689134 w 695325"/>
                <a:gd name="connsiteY12" fmla="*/ 368141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95325" h="581025">
                  <a:moveTo>
                    <a:pt x="689134" y="368141"/>
                  </a:moveTo>
                  <a:cubicBezTo>
                    <a:pt x="687229" y="271939"/>
                    <a:pt x="641509" y="191929"/>
                    <a:pt x="571024" y="127159"/>
                  </a:cubicBezTo>
                  <a:cubicBezTo>
                    <a:pt x="517684" y="78581"/>
                    <a:pt x="453866" y="41434"/>
                    <a:pt x="388144" y="13811"/>
                  </a:cubicBezTo>
                  <a:cubicBezTo>
                    <a:pt x="382429" y="11906"/>
                    <a:pt x="377666" y="9049"/>
                    <a:pt x="371951" y="7144"/>
                  </a:cubicBezTo>
                  <a:lnTo>
                    <a:pt x="371951" y="7144"/>
                  </a:lnTo>
                  <a:cubicBezTo>
                    <a:pt x="371951" y="7144"/>
                    <a:pt x="371951" y="7144"/>
                    <a:pt x="371951" y="7144"/>
                  </a:cubicBezTo>
                  <a:cubicBezTo>
                    <a:pt x="290036" y="105251"/>
                    <a:pt x="7144" y="178594"/>
                    <a:pt x="7144" y="383381"/>
                  </a:cubicBezTo>
                  <a:cubicBezTo>
                    <a:pt x="7144" y="463391"/>
                    <a:pt x="57626" y="538639"/>
                    <a:pt x="132874" y="569119"/>
                  </a:cubicBezTo>
                  <a:cubicBezTo>
                    <a:pt x="175736" y="585311"/>
                    <a:pt x="219551" y="586264"/>
                    <a:pt x="262414" y="571976"/>
                  </a:cubicBezTo>
                  <a:cubicBezTo>
                    <a:pt x="300514" y="559594"/>
                    <a:pt x="332899" y="535781"/>
                    <a:pt x="358616" y="506254"/>
                  </a:cubicBezTo>
                  <a:cubicBezTo>
                    <a:pt x="441484" y="413861"/>
                    <a:pt x="475774" y="271939"/>
                    <a:pt x="577692" y="271939"/>
                  </a:cubicBezTo>
                  <a:cubicBezTo>
                    <a:pt x="671036" y="271939"/>
                    <a:pt x="683419" y="338614"/>
                    <a:pt x="690086" y="374809"/>
                  </a:cubicBezTo>
                  <a:cubicBezTo>
                    <a:pt x="689134" y="373856"/>
                    <a:pt x="689134" y="371951"/>
                    <a:pt x="689134" y="36814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0992243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3A966515-C64B-E7BB-1198-D99D16DE65B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59896" y="1916832"/>
            <a:ext cx="7032104" cy="4941168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Insert Picture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C410B-B58E-46DB-B5F0-7F515E223D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368" y="3341212"/>
            <a:ext cx="4609034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Optional: Click to insert name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A6C182ED-7FBB-D436-05D8-96E184F17B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68" y="2924944"/>
            <a:ext cx="4609034" cy="246221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6ABBE1C-3373-50D9-4152-CA1AC4A5E7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368" y="1163739"/>
            <a:ext cx="4609034" cy="1495794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3" name="Graphic 4">
            <a:extLst>
              <a:ext uri="{FF2B5EF4-FFF2-40B4-BE49-F238E27FC236}">
                <a16:creationId xmlns:a16="http://schemas.microsoft.com/office/drawing/2014/main" id="{5B0494FA-CAE8-EE3E-45BE-4CADC3DC250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368" y="6000692"/>
            <a:ext cx="2988000" cy="458780"/>
            <a:chOff x="3176111" y="1257136"/>
            <a:chExt cx="5719756" cy="878207"/>
          </a:xfrm>
        </p:grpSpPr>
        <p:sp>
          <p:nvSpPr>
            <p:cNvPr id="4" name="Freeform: Shape 2">
              <a:extLst>
                <a:ext uri="{FF2B5EF4-FFF2-40B4-BE49-F238E27FC236}">
                  <a16:creationId xmlns:a16="http://schemas.microsoft.com/office/drawing/2014/main" id="{06ABC076-6045-0B03-4D93-53463E0CE1E5}"/>
                </a:ext>
              </a:extLst>
            </p:cNvPr>
            <p:cNvSpPr/>
            <p:nvPr/>
          </p:nvSpPr>
          <p:spPr>
            <a:xfrm>
              <a:off x="8667268" y="1360960"/>
              <a:ext cx="228599" cy="485775"/>
            </a:xfrm>
            <a:custGeom>
              <a:avLst/>
              <a:gdLst>
                <a:gd name="connsiteX0" fmla="*/ 43339 w 228600"/>
                <a:gd name="connsiteY0" fmla="*/ 14764 h 485775"/>
                <a:gd name="connsiteX1" fmla="*/ 90011 w 228600"/>
                <a:gd name="connsiteY1" fmla="*/ 7144 h 485775"/>
                <a:gd name="connsiteX2" fmla="*/ 90011 w 228600"/>
                <a:gd name="connsiteY2" fmla="*/ 118586 h 485775"/>
                <a:gd name="connsiteX3" fmla="*/ 217646 w 228600"/>
                <a:gd name="connsiteY3" fmla="*/ 118586 h 485775"/>
                <a:gd name="connsiteX4" fmla="*/ 217646 w 228600"/>
                <a:gd name="connsiteY4" fmla="*/ 148114 h 485775"/>
                <a:gd name="connsiteX5" fmla="*/ 180499 w 228600"/>
                <a:gd name="connsiteY5" fmla="*/ 185261 h 485775"/>
                <a:gd name="connsiteX6" fmla="*/ 90011 w 228600"/>
                <a:gd name="connsiteY6" fmla="*/ 185261 h 485775"/>
                <a:gd name="connsiteX7" fmla="*/ 90011 w 228600"/>
                <a:gd name="connsiteY7" fmla="*/ 330994 h 485775"/>
                <a:gd name="connsiteX8" fmla="*/ 103346 w 228600"/>
                <a:gd name="connsiteY8" fmla="*/ 392906 h 485775"/>
                <a:gd name="connsiteX9" fmla="*/ 150019 w 228600"/>
                <a:gd name="connsiteY9" fmla="*/ 411004 h 485775"/>
                <a:gd name="connsiteX10" fmla="*/ 190024 w 228600"/>
                <a:gd name="connsiteY10" fmla="*/ 406241 h 485775"/>
                <a:gd name="connsiteX11" fmla="*/ 217646 w 228600"/>
                <a:gd name="connsiteY11" fmla="*/ 397669 h 485775"/>
                <a:gd name="connsiteX12" fmla="*/ 226219 w 228600"/>
                <a:gd name="connsiteY12" fmla="*/ 438626 h 485775"/>
                <a:gd name="connsiteX13" fmla="*/ 205264 w 228600"/>
                <a:gd name="connsiteY13" fmla="*/ 472916 h 485775"/>
                <a:gd name="connsiteX14" fmla="*/ 193834 w 228600"/>
                <a:gd name="connsiteY14" fmla="*/ 475774 h 485775"/>
                <a:gd name="connsiteX15" fmla="*/ 138589 w 228600"/>
                <a:gd name="connsiteY15" fmla="*/ 482441 h 485775"/>
                <a:gd name="connsiteX16" fmla="*/ 74771 w 228600"/>
                <a:gd name="connsiteY16" fmla="*/ 471964 h 485775"/>
                <a:gd name="connsiteX17" fmla="*/ 33814 w 228600"/>
                <a:gd name="connsiteY17" fmla="*/ 442436 h 485775"/>
                <a:gd name="connsiteX18" fmla="*/ 12859 w 228600"/>
                <a:gd name="connsiteY18" fmla="*/ 394811 h 485775"/>
                <a:gd name="connsiteX19" fmla="*/ 7144 w 228600"/>
                <a:gd name="connsiteY19" fmla="*/ 330994 h 485775"/>
                <a:gd name="connsiteX20" fmla="*/ 7144 w 228600"/>
                <a:gd name="connsiteY20" fmla="*/ 56674 h 485775"/>
                <a:gd name="connsiteX21" fmla="*/ 43339 w 228600"/>
                <a:gd name="connsiteY21" fmla="*/ 14764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28600" h="485775">
                  <a:moveTo>
                    <a:pt x="43339" y="14764"/>
                  </a:moveTo>
                  <a:lnTo>
                    <a:pt x="90011" y="7144"/>
                  </a:lnTo>
                  <a:lnTo>
                    <a:pt x="90011" y="118586"/>
                  </a:lnTo>
                  <a:lnTo>
                    <a:pt x="217646" y="118586"/>
                  </a:lnTo>
                  <a:lnTo>
                    <a:pt x="217646" y="148114"/>
                  </a:lnTo>
                  <a:cubicBezTo>
                    <a:pt x="217646" y="168116"/>
                    <a:pt x="201453" y="185261"/>
                    <a:pt x="180499" y="185261"/>
                  </a:cubicBezTo>
                  <a:lnTo>
                    <a:pt x="90011" y="185261"/>
                  </a:lnTo>
                  <a:lnTo>
                    <a:pt x="90011" y="330994"/>
                  </a:lnTo>
                  <a:cubicBezTo>
                    <a:pt x="90011" y="359569"/>
                    <a:pt x="94774" y="380524"/>
                    <a:pt x="103346" y="392906"/>
                  </a:cubicBezTo>
                  <a:cubicBezTo>
                    <a:pt x="112871" y="405289"/>
                    <a:pt x="128111" y="411004"/>
                    <a:pt x="150019" y="411004"/>
                  </a:cubicBezTo>
                  <a:cubicBezTo>
                    <a:pt x="165259" y="411004"/>
                    <a:pt x="178594" y="409099"/>
                    <a:pt x="190024" y="406241"/>
                  </a:cubicBezTo>
                  <a:cubicBezTo>
                    <a:pt x="201453" y="403384"/>
                    <a:pt x="210978" y="400526"/>
                    <a:pt x="217646" y="397669"/>
                  </a:cubicBezTo>
                  <a:lnTo>
                    <a:pt x="226219" y="438626"/>
                  </a:lnTo>
                  <a:cubicBezTo>
                    <a:pt x="229076" y="453866"/>
                    <a:pt x="220503" y="469106"/>
                    <a:pt x="205264" y="472916"/>
                  </a:cubicBezTo>
                  <a:lnTo>
                    <a:pt x="193834" y="475774"/>
                  </a:lnTo>
                  <a:cubicBezTo>
                    <a:pt x="178594" y="480536"/>
                    <a:pt x="159544" y="482441"/>
                    <a:pt x="138589" y="482441"/>
                  </a:cubicBezTo>
                  <a:cubicBezTo>
                    <a:pt x="112871" y="482441"/>
                    <a:pt x="91916" y="478631"/>
                    <a:pt x="74771" y="471964"/>
                  </a:cubicBezTo>
                  <a:cubicBezTo>
                    <a:pt x="57626" y="465296"/>
                    <a:pt x="44291" y="454819"/>
                    <a:pt x="33814" y="442436"/>
                  </a:cubicBezTo>
                  <a:cubicBezTo>
                    <a:pt x="23336" y="429101"/>
                    <a:pt x="16669" y="413861"/>
                    <a:pt x="12859" y="394811"/>
                  </a:cubicBezTo>
                  <a:cubicBezTo>
                    <a:pt x="9049" y="376714"/>
                    <a:pt x="7144" y="354806"/>
                    <a:pt x="7144" y="330994"/>
                  </a:cubicBezTo>
                  <a:lnTo>
                    <a:pt x="7144" y="56674"/>
                  </a:lnTo>
                  <a:cubicBezTo>
                    <a:pt x="7144" y="36671"/>
                    <a:pt x="22384" y="18574"/>
                    <a:pt x="43339" y="14764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5" name="Freeform: Shape 3">
              <a:extLst>
                <a:ext uri="{FF2B5EF4-FFF2-40B4-BE49-F238E27FC236}">
                  <a16:creationId xmlns:a16="http://schemas.microsoft.com/office/drawing/2014/main" id="{8BCAAD0A-7A75-1E24-2849-87D9C5F5FE6F}"/>
                </a:ext>
              </a:extLst>
            </p:cNvPr>
            <p:cNvSpPr/>
            <p:nvPr/>
          </p:nvSpPr>
          <p:spPr>
            <a:xfrm>
              <a:off x="7972896" y="1460972"/>
              <a:ext cx="333375" cy="381000"/>
            </a:xfrm>
            <a:custGeom>
              <a:avLst/>
              <a:gdLst>
                <a:gd name="connsiteX0" fmla="*/ 7144 w 333375"/>
                <a:gd name="connsiteY0" fmla="*/ 196691 h 381000"/>
                <a:gd name="connsiteX1" fmla="*/ 21431 w 333375"/>
                <a:gd name="connsiteY1" fmla="*/ 113824 h 381000"/>
                <a:gd name="connsiteX2" fmla="*/ 58579 w 333375"/>
                <a:gd name="connsiteY2" fmla="*/ 54769 h 381000"/>
                <a:gd name="connsiteX3" fmla="*/ 111919 w 333375"/>
                <a:gd name="connsiteY3" fmla="*/ 19526 h 381000"/>
                <a:gd name="connsiteX4" fmla="*/ 173831 w 333375"/>
                <a:gd name="connsiteY4" fmla="*/ 7144 h 381000"/>
                <a:gd name="connsiteX5" fmla="*/ 289084 w 333375"/>
                <a:gd name="connsiteY5" fmla="*/ 52864 h 381000"/>
                <a:gd name="connsiteX6" fmla="*/ 330041 w 333375"/>
                <a:gd name="connsiteY6" fmla="*/ 189071 h 381000"/>
                <a:gd name="connsiteX7" fmla="*/ 330041 w 333375"/>
                <a:gd name="connsiteY7" fmla="*/ 204311 h 381000"/>
                <a:gd name="connsiteX8" fmla="*/ 329089 w 333375"/>
                <a:gd name="connsiteY8" fmla="*/ 219551 h 381000"/>
                <a:gd name="connsiteX9" fmla="*/ 93822 w 333375"/>
                <a:gd name="connsiteY9" fmla="*/ 219551 h 381000"/>
                <a:gd name="connsiteX10" fmla="*/ 124301 w 333375"/>
                <a:gd name="connsiteY10" fmla="*/ 286226 h 381000"/>
                <a:gd name="connsiteX11" fmla="*/ 202406 w 333375"/>
                <a:gd name="connsiteY11" fmla="*/ 310039 h 381000"/>
                <a:gd name="connsiteX12" fmla="*/ 257651 w 333375"/>
                <a:gd name="connsiteY12" fmla="*/ 304324 h 381000"/>
                <a:gd name="connsiteX13" fmla="*/ 269081 w 333375"/>
                <a:gd name="connsiteY13" fmla="*/ 301466 h 381000"/>
                <a:gd name="connsiteX14" fmla="*/ 301466 w 333375"/>
                <a:gd name="connsiteY14" fmla="*/ 323374 h 381000"/>
                <a:gd name="connsiteX15" fmla="*/ 307181 w 333375"/>
                <a:gd name="connsiteY15" fmla="*/ 360521 h 381000"/>
                <a:gd name="connsiteX16" fmla="*/ 288131 w 333375"/>
                <a:gd name="connsiteY16" fmla="*/ 368141 h 381000"/>
                <a:gd name="connsiteX17" fmla="*/ 260509 w 333375"/>
                <a:gd name="connsiteY17" fmla="*/ 374809 h 381000"/>
                <a:gd name="connsiteX18" fmla="*/ 227172 w 333375"/>
                <a:gd name="connsiteY18" fmla="*/ 379571 h 381000"/>
                <a:gd name="connsiteX19" fmla="*/ 190976 w 333375"/>
                <a:gd name="connsiteY19" fmla="*/ 381476 h 381000"/>
                <a:gd name="connsiteX20" fmla="*/ 109061 w 333375"/>
                <a:gd name="connsiteY20" fmla="*/ 367189 h 381000"/>
                <a:gd name="connsiteX21" fmla="*/ 51911 w 333375"/>
                <a:gd name="connsiteY21" fmla="*/ 328136 h 381000"/>
                <a:gd name="connsiteX22" fmla="*/ 18574 w 333375"/>
                <a:gd name="connsiteY22" fmla="*/ 269081 h 381000"/>
                <a:gd name="connsiteX23" fmla="*/ 7144 w 333375"/>
                <a:gd name="connsiteY23" fmla="*/ 196691 h 381000"/>
                <a:gd name="connsiteX24" fmla="*/ 246222 w 333375"/>
                <a:gd name="connsiteY24" fmla="*/ 159544 h 381000"/>
                <a:gd name="connsiteX25" fmla="*/ 241459 w 333375"/>
                <a:gd name="connsiteY25" fmla="*/ 127159 h 381000"/>
                <a:gd name="connsiteX26" fmla="*/ 227172 w 333375"/>
                <a:gd name="connsiteY26" fmla="*/ 100489 h 381000"/>
                <a:gd name="connsiteX27" fmla="*/ 204311 w 333375"/>
                <a:gd name="connsiteY27" fmla="*/ 82391 h 381000"/>
                <a:gd name="connsiteX28" fmla="*/ 172879 w 333375"/>
                <a:gd name="connsiteY28" fmla="*/ 75724 h 381000"/>
                <a:gd name="connsiteX29" fmla="*/ 139541 w 333375"/>
                <a:gd name="connsiteY29" fmla="*/ 83344 h 381000"/>
                <a:gd name="connsiteX30" fmla="*/ 115729 w 333375"/>
                <a:gd name="connsiteY30" fmla="*/ 102394 h 381000"/>
                <a:gd name="connsiteX31" fmla="*/ 100489 w 333375"/>
                <a:gd name="connsiteY31" fmla="*/ 129064 h 381000"/>
                <a:gd name="connsiteX32" fmla="*/ 92869 w 333375"/>
                <a:gd name="connsiteY32" fmla="*/ 159544 h 381000"/>
                <a:gd name="connsiteX33" fmla="*/ 246222 w 333375"/>
                <a:gd name="connsiteY33" fmla="*/ 159544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33375" h="381000">
                  <a:moveTo>
                    <a:pt x="7144" y="196691"/>
                  </a:moveTo>
                  <a:cubicBezTo>
                    <a:pt x="7144" y="165259"/>
                    <a:pt x="11906" y="137636"/>
                    <a:pt x="21431" y="113824"/>
                  </a:cubicBezTo>
                  <a:cubicBezTo>
                    <a:pt x="30956" y="90011"/>
                    <a:pt x="43339" y="70009"/>
                    <a:pt x="58579" y="54769"/>
                  </a:cubicBezTo>
                  <a:cubicBezTo>
                    <a:pt x="73819" y="38576"/>
                    <a:pt x="91916" y="27146"/>
                    <a:pt x="111919" y="19526"/>
                  </a:cubicBezTo>
                  <a:cubicBezTo>
                    <a:pt x="131922" y="11906"/>
                    <a:pt x="152876" y="7144"/>
                    <a:pt x="173831" y="7144"/>
                  </a:cubicBezTo>
                  <a:cubicBezTo>
                    <a:pt x="223361" y="7144"/>
                    <a:pt x="261461" y="22384"/>
                    <a:pt x="289084" y="52864"/>
                  </a:cubicBezTo>
                  <a:cubicBezTo>
                    <a:pt x="316706" y="83344"/>
                    <a:pt x="330041" y="129064"/>
                    <a:pt x="330041" y="189071"/>
                  </a:cubicBezTo>
                  <a:cubicBezTo>
                    <a:pt x="330041" y="193834"/>
                    <a:pt x="330041" y="198596"/>
                    <a:pt x="330041" y="204311"/>
                  </a:cubicBezTo>
                  <a:cubicBezTo>
                    <a:pt x="330041" y="210026"/>
                    <a:pt x="329089" y="214789"/>
                    <a:pt x="329089" y="219551"/>
                  </a:cubicBezTo>
                  <a:lnTo>
                    <a:pt x="93822" y="219551"/>
                  </a:lnTo>
                  <a:cubicBezTo>
                    <a:pt x="95726" y="248126"/>
                    <a:pt x="106204" y="270034"/>
                    <a:pt x="124301" y="286226"/>
                  </a:cubicBezTo>
                  <a:cubicBezTo>
                    <a:pt x="142399" y="301466"/>
                    <a:pt x="168116" y="310039"/>
                    <a:pt x="202406" y="310039"/>
                  </a:cubicBezTo>
                  <a:cubicBezTo>
                    <a:pt x="222409" y="310039"/>
                    <a:pt x="240506" y="308134"/>
                    <a:pt x="257651" y="304324"/>
                  </a:cubicBezTo>
                  <a:cubicBezTo>
                    <a:pt x="261461" y="303371"/>
                    <a:pt x="266224" y="302419"/>
                    <a:pt x="269081" y="301466"/>
                  </a:cubicBezTo>
                  <a:cubicBezTo>
                    <a:pt x="284322" y="297656"/>
                    <a:pt x="298609" y="308134"/>
                    <a:pt x="301466" y="323374"/>
                  </a:cubicBezTo>
                  <a:lnTo>
                    <a:pt x="307181" y="360521"/>
                  </a:lnTo>
                  <a:cubicBezTo>
                    <a:pt x="302419" y="362426"/>
                    <a:pt x="296704" y="365284"/>
                    <a:pt x="288131" y="368141"/>
                  </a:cubicBezTo>
                  <a:cubicBezTo>
                    <a:pt x="280511" y="370999"/>
                    <a:pt x="270986" y="372904"/>
                    <a:pt x="260509" y="374809"/>
                  </a:cubicBezTo>
                  <a:cubicBezTo>
                    <a:pt x="250031" y="376714"/>
                    <a:pt x="239554" y="378619"/>
                    <a:pt x="227172" y="379571"/>
                  </a:cubicBezTo>
                  <a:cubicBezTo>
                    <a:pt x="214789" y="380524"/>
                    <a:pt x="203359" y="381476"/>
                    <a:pt x="190976" y="381476"/>
                  </a:cubicBezTo>
                  <a:cubicBezTo>
                    <a:pt x="159544" y="381476"/>
                    <a:pt x="131922" y="376714"/>
                    <a:pt x="109061" y="367189"/>
                  </a:cubicBezTo>
                  <a:cubicBezTo>
                    <a:pt x="86201" y="357664"/>
                    <a:pt x="67151" y="345281"/>
                    <a:pt x="51911" y="328136"/>
                  </a:cubicBezTo>
                  <a:cubicBezTo>
                    <a:pt x="36672" y="311944"/>
                    <a:pt x="26194" y="291941"/>
                    <a:pt x="18574" y="269081"/>
                  </a:cubicBezTo>
                  <a:cubicBezTo>
                    <a:pt x="10954" y="248126"/>
                    <a:pt x="7144" y="223361"/>
                    <a:pt x="7144" y="196691"/>
                  </a:cubicBezTo>
                  <a:close/>
                  <a:moveTo>
                    <a:pt x="246222" y="159544"/>
                  </a:moveTo>
                  <a:cubicBezTo>
                    <a:pt x="246222" y="148114"/>
                    <a:pt x="244316" y="137636"/>
                    <a:pt x="241459" y="127159"/>
                  </a:cubicBezTo>
                  <a:cubicBezTo>
                    <a:pt x="238601" y="116681"/>
                    <a:pt x="233839" y="108109"/>
                    <a:pt x="227172" y="100489"/>
                  </a:cubicBezTo>
                  <a:cubicBezTo>
                    <a:pt x="221456" y="92869"/>
                    <a:pt x="213836" y="87154"/>
                    <a:pt x="204311" y="82391"/>
                  </a:cubicBezTo>
                  <a:cubicBezTo>
                    <a:pt x="195739" y="77629"/>
                    <a:pt x="185261" y="75724"/>
                    <a:pt x="172879" y="75724"/>
                  </a:cubicBezTo>
                  <a:cubicBezTo>
                    <a:pt x="160497" y="75724"/>
                    <a:pt x="149066" y="78581"/>
                    <a:pt x="139541" y="83344"/>
                  </a:cubicBezTo>
                  <a:cubicBezTo>
                    <a:pt x="130016" y="88106"/>
                    <a:pt x="121444" y="94774"/>
                    <a:pt x="115729" y="102394"/>
                  </a:cubicBezTo>
                  <a:cubicBezTo>
                    <a:pt x="110014" y="110014"/>
                    <a:pt x="104299" y="118586"/>
                    <a:pt x="100489" y="129064"/>
                  </a:cubicBezTo>
                  <a:cubicBezTo>
                    <a:pt x="96679" y="139541"/>
                    <a:pt x="94774" y="149066"/>
                    <a:pt x="92869" y="159544"/>
                  </a:cubicBezTo>
                  <a:lnTo>
                    <a:pt x="246222" y="159544"/>
                  </a:ln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4" name="Freeform: Shape 4">
              <a:extLst>
                <a:ext uri="{FF2B5EF4-FFF2-40B4-BE49-F238E27FC236}">
                  <a16:creationId xmlns:a16="http://schemas.microsoft.com/office/drawing/2014/main" id="{6F9CDDE6-E5F9-2E40-1C56-B3B0AF2F1C36}"/>
                </a:ext>
              </a:extLst>
            </p:cNvPr>
            <p:cNvSpPr/>
            <p:nvPr/>
          </p:nvSpPr>
          <p:spPr>
            <a:xfrm>
              <a:off x="7182323" y="1317145"/>
              <a:ext cx="114301" cy="114301"/>
            </a:xfrm>
            <a:custGeom>
              <a:avLst/>
              <a:gdLst>
                <a:gd name="connsiteX0" fmla="*/ 109061 w 114300"/>
                <a:gd name="connsiteY0" fmla="*/ 58579 h 114300"/>
                <a:gd name="connsiteX1" fmla="*/ 93821 w 114300"/>
                <a:gd name="connsiteY1" fmla="*/ 95726 h 114300"/>
                <a:gd name="connsiteX2" fmla="*/ 58579 w 114300"/>
                <a:gd name="connsiteY2" fmla="*/ 109061 h 114300"/>
                <a:gd name="connsiteX3" fmla="*/ 22384 w 114300"/>
                <a:gd name="connsiteY3" fmla="*/ 95726 h 114300"/>
                <a:gd name="connsiteX4" fmla="*/ 7144 w 114300"/>
                <a:gd name="connsiteY4" fmla="*/ 58579 h 114300"/>
                <a:gd name="connsiteX5" fmla="*/ 22384 w 114300"/>
                <a:gd name="connsiteY5" fmla="*/ 20479 h 114300"/>
                <a:gd name="connsiteX6" fmla="*/ 58579 w 114300"/>
                <a:gd name="connsiteY6" fmla="*/ 7144 h 114300"/>
                <a:gd name="connsiteX7" fmla="*/ 93821 w 114300"/>
                <a:gd name="connsiteY7" fmla="*/ 20479 h 114300"/>
                <a:gd name="connsiteX8" fmla="*/ 109061 w 114300"/>
                <a:gd name="connsiteY8" fmla="*/ 58579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9061" y="58579"/>
                  </a:moveTo>
                  <a:cubicBezTo>
                    <a:pt x="109061" y="73819"/>
                    <a:pt x="104299" y="86201"/>
                    <a:pt x="93821" y="95726"/>
                  </a:cubicBezTo>
                  <a:cubicBezTo>
                    <a:pt x="83344" y="105251"/>
                    <a:pt x="71914" y="109061"/>
                    <a:pt x="58579" y="109061"/>
                  </a:cubicBezTo>
                  <a:cubicBezTo>
                    <a:pt x="44291" y="109061"/>
                    <a:pt x="31909" y="104299"/>
                    <a:pt x="22384" y="95726"/>
                  </a:cubicBezTo>
                  <a:cubicBezTo>
                    <a:pt x="11906" y="86201"/>
                    <a:pt x="7144" y="73819"/>
                    <a:pt x="7144" y="58579"/>
                  </a:cubicBezTo>
                  <a:cubicBezTo>
                    <a:pt x="7144" y="42386"/>
                    <a:pt x="11906" y="30004"/>
                    <a:pt x="22384" y="20479"/>
                  </a:cubicBezTo>
                  <a:cubicBezTo>
                    <a:pt x="32861" y="10954"/>
                    <a:pt x="44291" y="7144"/>
                    <a:pt x="58579" y="7144"/>
                  </a:cubicBezTo>
                  <a:cubicBezTo>
                    <a:pt x="71914" y="7144"/>
                    <a:pt x="84296" y="11906"/>
                    <a:pt x="93821" y="20479"/>
                  </a:cubicBezTo>
                  <a:cubicBezTo>
                    <a:pt x="104299" y="30004"/>
                    <a:pt x="109061" y="43339"/>
                    <a:pt x="109061" y="5857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5" name="Freeform: Shape 5">
              <a:extLst>
                <a:ext uri="{FF2B5EF4-FFF2-40B4-BE49-F238E27FC236}">
                  <a16:creationId xmlns:a16="http://schemas.microsoft.com/office/drawing/2014/main" id="{09908EB8-154E-C2CF-A6AC-BD0C87DB3A37}"/>
                </a:ext>
              </a:extLst>
            </p:cNvPr>
            <p:cNvSpPr/>
            <p:nvPr/>
          </p:nvSpPr>
          <p:spPr>
            <a:xfrm>
              <a:off x="7192800" y="1473355"/>
              <a:ext cx="95250" cy="371475"/>
            </a:xfrm>
            <a:custGeom>
              <a:avLst/>
              <a:gdLst>
                <a:gd name="connsiteX0" fmla="*/ 90011 w 95250"/>
                <a:gd name="connsiteY0" fmla="*/ 366236 h 371475"/>
                <a:gd name="connsiteX1" fmla="*/ 67151 w 95250"/>
                <a:gd name="connsiteY1" fmla="*/ 366236 h 371475"/>
                <a:gd name="connsiteX2" fmla="*/ 7144 w 95250"/>
                <a:gd name="connsiteY2" fmla="*/ 306229 h 371475"/>
                <a:gd name="connsiteX3" fmla="*/ 7144 w 95250"/>
                <a:gd name="connsiteY3" fmla="*/ 7144 h 371475"/>
                <a:gd name="connsiteX4" fmla="*/ 35719 w 95250"/>
                <a:gd name="connsiteY4" fmla="*/ 7144 h 371475"/>
                <a:gd name="connsiteX5" fmla="*/ 90011 w 95250"/>
                <a:gd name="connsiteY5" fmla="*/ 62389 h 371475"/>
                <a:gd name="connsiteX6" fmla="*/ 90011 w 95250"/>
                <a:gd name="connsiteY6" fmla="*/ 366236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250" h="371475">
                  <a:moveTo>
                    <a:pt x="90011" y="366236"/>
                  </a:moveTo>
                  <a:lnTo>
                    <a:pt x="67151" y="366236"/>
                  </a:lnTo>
                  <a:cubicBezTo>
                    <a:pt x="33814" y="366236"/>
                    <a:pt x="7144" y="339566"/>
                    <a:pt x="7144" y="306229"/>
                  </a:cubicBezTo>
                  <a:lnTo>
                    <a:pt x="7144" y="7144"/>
                  </a:lnTo>
                  <a:lnTo>
                    <a:pt x="35719" y="7144"/>
                  </a:lnTo>
                  <a:cubicBezTo>
                    <a:pt x="66199" y="7144"/>
                    <a:pt x="90011" y="31909"/>
                    <a:pt x="90011" y="62389"/>
                  </a:cubicBezTo>
                  <a:lnTo>
                    <a:pt x="90011" y="366236"/>
                  </a:ln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6" name="Freeform: Shape 6">
              <a:extLst>
                <a:ext uri="{FF2B5EF4-FFF2-40B4-BE49-F238E27FC236}">
                  <a16:creationId xmlns:a16="http://schemas.microsoft.com/office/drawing/2014/main" id="{A2833D43-CEF0-8C8F-4049-C73B9A12F24E}"/>
                </a:ext>
              </a:extLst>
            </p:cNvPr>
            <p:cNvSpPr/>
            <p:nvPr/>
          </p:nvSpPr>
          <p:spPr>
            <a:xfrm>
              <a:off x="7637617" y="1474308"/>
              <a:ext cx="352426" cy="371475"/>
            </a:xfrm>
            <a:custGeom>
              <a:avLst/>
              <a:gdLst>
                <a:gd name="connsiteX0" fmla="*/ 287179 w 352425"/>
                <a:gd name="connsiteY0" fmla="*/ 7144 h 371475"/>
                <a:gd name="connsiteX1" fmla="*/ 250031 w 352425"/>
                <a:gd name="connsiteY1" fmla="*/ 43339 h 371475"/>
                <a:gd name="connsiteX2" fmla="*/ 179547 w 352425"/>
                <a:gd name="connsiteY2" fmla="*/ 246221 h 371475"/>
                <a:gd name="connsiteX3" fmla="*/ 106204 w 352425"/>
                <a:gd name="connsiteY3" fmla="*/ 47149 h 371475"/>
                <a:gd name="connsiteX4" fmla="*/ 68104 w 352425"/>
                <a:gd name="connsiteY4" fmla="*/ 7144 h 371475"/>
                <a:gd name="connsiteX5" fmla="*/ 27147 w 352425"/>
                <a:gd name="connsiteY5" fmla="*/ 7144 h 371475"/>
                <a:gd name="connsiteX6" fmla="*/ 7144 w 352425"/>
                <a:gd name="connsiteY6" fmla="*/ 7144 h 371475"/>
                <a:gd name="connsiteX7" fmla="*/ 130969 w 352425"/>
                <a:gd name="connsiteY7" fmla="*/ 329089 h 371475"/>
                <a:gd name="connsiteX8" fmla="*/ 171927 w 352425"/>
                <a:gd name="connsiteY8" fmla="*/ 365284 h 371475"/>
                <a:gd name="connsiteX9" fmla="*/ 213836 w 352425"/>
                <a:gd name="connsiteY9" fmla="*/ 365284 h 371475"/>
                <a:gd name="connsiteX10" fmla="*/ 350044 w 352425"/>
                <a:gd name="connsiteY10" fmla="*/ 7144 h 371475"/>
                <a:gd name="connsiteX11" fmla="*/ 287179 w 352425"/>
                <a:gd name="connsiteY11" fmla="*/ 7144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52425" h="371475">
                  <a:moveTo>
                    <a:pt x="287179" y="7144"/>
                  </a:moveTo>
                  <a:cubicBezTo>
                    <a:pt x="265272" y="7144"/>
                    <a:pt x="259556" y="18574"/>
                    <a:pt x="250031" y="43339"/>
                  </a:cubicBezTo>
                  <a:lnTo>
                    <a:pt x="179547" y="246221"/>
                  </a:lnTo>
                  <a:lnTo>
                    <a:pt x="106204" y="47149"/>
                  </a:lnTo>
                  <a:cubicBezTo>
                    <a:pt x="97631" y="21431"/>
                    <a:pt x="90011" y="7144"/>
                    <a:pt x="68104" y="7144"/>
                  </a:cubicBezTo>
                  <a:lnTo>
                    <a:pt x="27147" y="7144"/>
                  </a:lnTo>
                  <a:lnTo>
                    <a:pt x="7144" y="7144"/>
                  </a:lnTo>
                  <a:lnTo>
                    <a:pt x="130969" y="329089"/>
                  </a:lnTo>
                  <a:cubicBezTo>
                    <a:pt x="142399" y="352901"/>
                    <a:pt x="150019" y="365284"/>
                    <a:pt x="171927" y="365284"/>
                  </a:cubicBezTo>
                  <a:lnTo>
                    <a:pt x="213836" y="365284"/>
                  </a:lnTo>
                  <a:lnTo>
                    <a:pt x="350044" y="7144"/>
                  </a:lnTo>
                  <a:lnTo>
                    <a:pt x="287179" y="7144"/>
                  </a:ln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7" name="Freeform: Shape 7">
              <a:extLst>
                <a:ext uri="{FF2B5EF4-FFF2-40B4-BE49-F238E27FC236}">
                  <a16:creationId xmlns:a16="http://schemas.microsoft.com/office/drawing/2014/main" id="{834AF362-82D4-3F0E-CBB1-C74A450F3B9C}"/>
                </a:ext>
              </a:extLst>
            </p:cNvPr>
            <p:cNvSpPr/>
            <p:nvPr/>
          </p:nvSpPr>
          <p:spPr>
            <a:xfrm>
              <a:off x="7326150" y="1464782"/>
              <a:ext cx="314325" cy="381000"/>
            </a:xfrm>
            <a:custGeom>
              <a:avLst/>
              <a:gdLst>
                <a:gd name="connsiteX0" fmla="*/ 300514 w 314325"/>
                <a:gd name="connsiteY0" fmla="*/ 105251 h 381000"/>
                <a:gd name="connsiteX1" fmla="*/ 275749 w 314325"/>
                <a:gd name="connsiteY1" fmla="*/ 52864 h 381000"/>
                <a:gd name="connsiteX2" fmla="*/ 229076 w 314325"/>
                <a:gd name="connsiteY2" fmla="*/ 19526 h 381000"/>
                <a:gd name="connsiteX3" fmla="*/ 155734 w 314325"/>
                <a:gd name="connsiteY3" fmla="*/ 7144 h 381000"/>
                <a:gd name="connsiteX4" fmla="*/ 70009 w 314325"/>
                <a:gd name="connsiteY4" fmla="*/ 13811 h 381000"/>
                <a:gd name="connsiteX5" fmla="*/ 7144 w 314325"/>
                <a:gd name="connsiteY5" fmla="*/ 27146 h 381000"/>
                <a:gd name="connsiteX6" fmla="*/ 7144 w 314325"/>
                <a:gd name="connsiteY6" fmla="*/ 329089 h 381000"/>
                <a:gd name="connsiteX7" fmla="*/ 7144 w 314325"/>
                <a:gd name="connsiteY7" fmla="*/ 329089 h 381000"/>
                <a:gd name="connsiteX8" fmla="*/ 7144 w 314325"/>
                <a:gd name="connsiteY8" fmla="*/ 338614 h 381000"/>
                <a:gd name="connsiteX9" fmla="*/ 44291 w 314325"/>
                <a:gd name="connsiteY9" fmla="*/ 375761 h 381000"/>
                <a:gd name="connsiteX10" fmla="*/ 45244 w 314325"/>
                <a:gd name="connsiteY10" fmla="*/ 375761 h 381000"/>
                <a:gd name="connsiteX11" fmla="*/ 45244 w 314325"/>
                <a:gd name="connsiteY11" fmla="*/ 375761 h 381000"/>
                <a:gd name="connsiteX12" fmla="*/ 90964 w 314325"/>
                <a:gd name="connsiteY12" fmla="*/ 375761 h 381000"/>
                <a:gd name="connsiteX13" fmla="*/ 90964 w 314325"/>
                <a:gd name="connsiteY13" fmla="*/ 84296 h 381000"/>
                <a:gd name="connsiteX14" fmla="*/ 116682 w 314325"/>
                <a:gd name="connsiteY14" fmla="*/ 80486 h 381000"/>
                <a:gd name="connsiteX15" fmla="*/ 150019 w 314325"/>
                <a:gd name="connsiteY15" fmla="*/ 78581 h 381000"/>
                <a:gd name="connsiteX16" fmla="*/ 186214 w 314325"/>
                <a:gd name="connsiteY16" fmla="*/ 84296 h 381000"/>
                <a:gd name="connsiteX17" fmla="*/ 210026 w 314325"/>
                <a:gd name="connsiteY17" fmla="*/ 102394 h 381000"/>
                <a:gd name="connsiteX18" fmla="*/ 222409 w 314325"/>
                <a:gd name="connsiteY18" fmla="*/ 135731 h 381000"/>
                <a:gd name="connsiteX19" fmla="*/ 226219 w 314325"/>
                <a:gd name="connsiteY19" fmla="*/ 185261 h 381000"/>
                <a:gd name="connsiteX20" fmla="*/ 226219 w 314325"/>
                <a:gd name="connsiteY20" fmla="*/ 328136 h 381000"/>
                <a:gd name="connsiteX21" fmla="*/ 226219 w 314325"/>
                <a:gd name="connsiteY21" fmla="*/ 328136 h 381000"/>
                <a:gd name="connsiteX22" fmla="*/ 226219 w 314325"/>
                <a:gd name="connsiteY22" fmla="*/ 337661 h 381000"/>
                <a:gd name="connsiteX23" fmla="*/ 263366 w 314325"/>
                <a:gd name="connsiteY23" fmla="*/ 374809 h 381000"/>
                <a:gd name="connsiteX24" fmla="*/ 263366 w 314325"/>
                <a:gd name="connsiteY24" fmla="*/ 374809 h 381000"/>
                <a:gd name="connsiteX25" fmla="*/ 310039 w 314325"/>
                <a:gd name="connsiteY25" fmla="*/ 374809 h 381000"/>
                <a:gd name="connsiteX26" fmla="*/ 310039 w 314325"/>
                <a:gd name="connsiteY26" fmla="*/ 172879 h 381000"/>
                <a:gd name="connsiteX27" fmla="*/ 300514 w 314325"/>
                <a:gd name="connsiteY27" fmla="*/ 105251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14325" h="381000">
                  <a:moveTo>
                    <a:pt x="300514" y="105251"/>
                  </a:moveTo>
                  <a:cubicBezTo>
                    <a:pt x="295751" y="85249"/>
                    <a:pt x="287179" y="67151"/>
                    <a:pt x="275749" y="52864"/>
                  </a:cubicBezTo>
                  <a:cubicBezTo>
                    <a:pt x="264319" y="38576"/>
                    <a:pt x="248126" y="27146"/>
                    <a:pt x="229076" y="19526"/>
                  </a:cubicBezTo>
                  <a:cubicBezTo>
                    <a:pt x="209074" y="11906"/>
                    <a:pt x="185261" y="7144"/>
                    <a:pt x="155734" y="7144"/>
                  </a:cubicBezTo>
                  <a:cubicBezTo>
                    <a:pt x="124301" y="7144"/>
                    <a:pt x="95726" y="9049"/>
                    <a:pt x="70009" y="13811"/>
                  </a:cubicBezTo>
                  <a:cubicBezTo>
                    <a:pt x="44291" y="17621"/>
                    <a:pt x="23336" y="22384"/>
                    <a:pt x="7144" y="27146"/>
                  </a:cubicBezTo>
                  <a:lnTo>
                    <a:pt x="7144" y="329089"/>
                  </a:lnTo>
                  <a:lnTo>
                    <a:pt x="7144" y="329089"/>
                  </a:lnTo>
                  <a:lnTo>
                    <a:pt x="7144" y="338614"/>
                  </a:lnTo>
                  <a:cubicBezTo>
                    <a:pt x="7144" y="358616"/>
                    <a:pt x="23336" y="375761"/>
                    <a:pt x="44291" y="375761"/>
                  </a:cubicBezTo>
                  <a:lnTo>
                    <a:pt x="45244" y="375761"/>
                  </a:lnTo>
                  <a:lnTo>
                    <a:pt x="45244" y="375761"/>
                  </a:lnTo>
                  <a:lnTo>
                    <a:pt x="90964" y="375761"/>
                  </a:lnTo>
                  <a:lnTo>
                    <a:pt x="90964" y="84296"/>
                  </a:lnTo>
                  <a:cubicBezTo>
                    <a:pt x="96679" y="83344"/>
                    <a:pt x="105251" y="82391"/>
                    <a:pt x="116682" y="80486"/>
                  </a:cubicBezTo>
                  <a:cubicBezTo>
                    <a:pt x="128111" y="79534"/>
                    <a:pt x="139541" y="78581"/>
                    <a:pt x="150019" y="78581"/>
                  </a:cubicBezTo>
                  <a:cubicBezTo>
                    <a:pt x="164307" y="78581"/>
                    <a:pt x="176689" y="80486"/>
                    <a:pt x="186214" y="84296"/>
                  </a:cubicBezTo>
                  <a:cubicBezTo>
                    <a:pt x="195739" y="88106"/>
                    <a:pt x="204311" y="94774"/>
                    <a:pt x="210026" y="102394"/>
                  </a:cubicBezTo>
                  <a:cubicBezTo>
                    <a:pt x="215741" y="110966"/>
                    <a:pt x="219551" y="121444"/>
                    <a:pt x="222409" y="135731"/>
                  </a:cubicBezTo>
                  <a:cubicBezTo>
                    <a:pt x="225266" y="149066"/>
                    <a:pt x="226219" y="165259"/>
                    <a:pt x="226219" y="185261"/>
                  </a:cubicBezTo>
                  <a:lnTo>
                    <a:pt x="226219" y="328136"/>
                  </a:lnTo>
                  <a:lnTo>
                    <a:pt x="226219" y="328136"/>
                  </a:lnTo>
                  <a:lnTo>
                    <a:pt x="226219" y="337661"/>
                  </a:lnTo>
                  <a:cubicBezTo>
                    <a:pt x="226219" y="357664"/>
                    <a:pt x="242411" y="374809"/>
                    <a:pt x="263366" y="374809"/>
                  </a:cubicBezTo>
                  <a:lnTo>
                    <a:pt x="263366" y="374809"/>
                  </a:lnTo>
                  <a:lnTo>
                    <a:pt x="310039" y="374809"/>
                  </a:lnTo>
                  <a:lnTo>
                    <a:pt x="310039" y="172879"/>
                  </a:lnTo>
                  <a:cubicBezTo>
                    <a:pt x="308134" y="148114"/>
                    <a:pt x="305276" y="126206"/>
                    <a:pt x="300514" y="1052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8" name="Freeform: Shape 8">
              <a:extLst>
                <a:ext uri="{FF2B5EF4-FFF2-40B4-BE49-F238E27FC236}">
                  <a16:creationId xmlns:a16="http://schemas.microsoft.com/office/drawing/2014/main" id="{F9755055-4BF3-E43C-D81A-C1E81E2BCECD}"/>
                </a:ext>
              </a:extLst>
            </p:cNvPr>
            <p:cNvSpPr/>
            <p:nvPr/>
          </p:nvSpPr>
          <p:spPr>
            <a:xfrm>
              <a:off x="8331989" y="1464782"/>
              <a:ext cx="314325" cy="381000"/>
            </a:xfrm>
            <a:custGeom>
              <a:avLst/>
              <a:gdLst>
                <a:gd name="connsiteX0" fmla="*/ 300514 w 314325"/>
                <a:gd name="connsiteY0" fmla="*/ 105251 h 381000"/>
                <a:gd name="connsiteX1" fmla="*/ 275749 w 314325"/>
                <a:gd name="connsiteY1" fmla="*/ 52864 h 381000"/>
                <a:gd name="connsiteX2" fmla="*/ 229076 w 314325"/>
                <a:gd name="connsiteY2" fmla="*/ 19526 h 381000"/>
                <a:gd name="connsiteX3" fmla="*/ 155734 w 314325"/>
                <a:gd name="connsiteY3" fmla="*/ 7144 h 381000"/>
                <a:gd name="connsiteX4" fmla="*/ 70009 w 314325"/>
                <a:gd name="connsiteY4" fmla="*/ 13811 h 381000"/>
                <a:gd name="connsiteX5" fmla="*/ 7144 w 314325"/>
                <a:gd name="connsiteY5" fmla="*/ 27146 h 381000"/>
                <a:gd name="connsiteX6" fmla="*/ 7144 w 314325"/>
                <a:gd name="connsiteY6" fmla="*/ 329089 h 381000"/>
                <a:gd name="connsiteX7" fmla="*/ 7144 w 314325"/>
                <a:gd name="connsiteY7" fmla="*/ 329089 h 381000"/>
                <a:gd name="connsiteX8" fmla="*/ 7144 w 314325"/>
                <a:gd name="connsiteY8" fmla="*/ 338614 h 381000"/>
                <a:gd name="connsiteX9" fmla="*/ 44291 w 314325"/>
                <a:gd name="connsiteY9" fmla="*/ 375761 h 381000"/>
                <a:gd name="connsiteX10" fmla="*/ 45244 w 314325"/>
                <a:gd name="connsiteY10" fmla="*/ 375761 h 381000"/>
                <a:gd name="connsiteX11" fmla="*/ 45244 w 314325"/>
                <a:gd name="connsiteY11" fmla="*/ 375761 h 381000"/>
                <a:gd name="connsiteX12" fmla="*/ 90964 w 314325"/>
                <a:gd name="connsiteY12" fmla="*/ 375761 h 381000"/>
                <a:gd name="connsiteX13" fmla="*/ 90964 w 314325"/>
                <a:gd name="connsiteY13" fmla="*/ 84296 h 381000"/>
                <a:gd name="connsiteX14" fmla="*/ 116681 w 314325"/>
                <a:gd name="connsiteY14" fmla="*/ 80486 h 381000"/>
                <a:gd name="connsiteX15" fmla="*/ 150019 w 314325"/>
                <a:gd name="connsiteY15" fmla="*/ 78581 h 381000"/>
                <a:gd name="connsiteX16" fmla="*/ 186214 w 314325"/>
                <a:gd name="connsiteY16" fmla="*/ 84296 h 381000"/>
                <a:gd name="connsiteX17" fmla="*/ 210026 w 314325"/>
                <a:gd name="connsiteY17" fmla="*/ 102394 h 381000"/>
                <a:gd name="connsiteX18" fmla="*/ 222409 w 314325"/>
                <a:gd name="connsiteY18" fmla="*/ 135731 h 381000"/>
                <a:gd name="connsiteX19" fmla="*/ 226219 w 314325"/>
                <a:gd name="connsiteY19" fmla="*/ 185261 h 381000"/>
                <a:gd name="connsiteX20" fmla="*/ 226219 w 314325"/>
                <a:gd name="connsiteY20" fmla="*/ 328136 h 381000"/>
                <a:gd name="connsiteX21" fmla="*/ 226219 w 314325"/>
                <a:gd name="connsiteY21" fmla="*/ 328136 h 381000"/>
                <a:gd name="connsiteX22" fmla="*/ 226219 w 314325"/>
                <a:gd name="connsiteY22" fmla="*/ 337661 h 381000"/>
                <a:gd name="connsiteX23" fmla="*/ 263366 w 314325"/>
                <a:gd name="connsiteY23" fmla="*/ 374809 h 381000"/>
                <a:gd name="connsiteX24" fmla="*/ 263366 w 314325"/>
                <a:gd name="connsiteY24" fmla="*/ 374809 h 381000"/>
                <a:gd name="connsiteX25" fmla="*/ 310039 w 314325"/>
                <a:gd name="connsiteY25" fmla="*/ 374809 h 381000"/>
                <a:gd name="connsiteX26" fmla="*/ 310039 w 314325"/>
                <a:gd name="connsiteY26" fmla="*/ 172879 h 381000"/>
                <a:gd name="connsiteX27" fmla="*/ 300514 w 314325"/>
                <a:gd name="connsiteY27" fmla="*/ 105251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14325" h="381000">
                  <a:moveTo>
                    <a:pt x="300514" y="105251"/>
                  </a:moveTo>
                  <a:cubicBezTo>
                    <a:pt x="295751" y="85249"/>
                    <a:pt x="287179" y="67151"/>
                    <a:pt x="275749" y="52864"/>
                  </a:cubicBezTo>
                  <a:cubicBezTo>
                    <a:pt x="264319" y="38576"/>
                    <a:pt x="248126" y="27146"/>
                    <a:pt x="229076" y="19526"/>
                  </a:cubicBezTo>
                  <a:cubicBezTo>
                    <a:pt x="209074" y="11906"/>
                    <a:pt x="185261" y="7144"/>
                    <a:pt x="155734" y="7144"/>
                  </a:cubicBezTo>
                  <a:cubicBezTo>
                    <a:pt x="124301" y="7144"/>
                    <a:pt x="95726" y="9049"/>
                    <a:pt x="70009" y="13811"/>
                  </a:cubicBezTo>
                  <a:cubicBezTo>
                    <a:pt x="44291" y="17621"/>
                    <a:pt x="23336" y="22384"/>
                    <a:pt x="7144" y="27146"/>
                  </a:cubicBezTo>
                  <a:lnTo>
                    <a:pt x="7144" y="329089"/>
                  </a:lnTo>
                  <a:lnTo>
                    <a:pt x="7144" y="329089"/>
                  </a:lnTo>
                  <a:lnTo>
                    <a:pt x="7144" y="338614"/>
                  </a:lnTo>
                  <a:cubicBezTo>
                    <a:pt x="7144" y="358616"/>
                    <a:pt x="23336" y="375761"/>
                    <a:pt x="44291" y="375761"/>
                  </a:cubicBezTo>
                  <a:lnTo>
                    <a:pt x="45244" y="375761"/>
                  </a:lnTo>
                  <a:lnTo>
                    <a:pt x="45244" y="375761"/>
                  </a:lnTo>
                  <a:lnTo>
                    <a:pt x="90964" y="375761"/>
                  </a:lnTo>
                  <a:lnTo>
                    <a:pt x="90964" y="84296"/>
                  </a:lnTo>
                  <a:cubicBezTo>
                    <a:pt x="96679" y="83344"/>
                    <a:pt x="105251" y="82391"/>
                    <a:pt x="116681" y="80486"/>
                  </a:cubicBezTo>
                  <a:cubicBezTo>
                    <a:pt x="128111" y="79534"/>
                    <a:pt x="139541" y="78581"/>
                    <a:pt x="150019" y="78581"/>
                  </a:cubicBezTo>
                  <a:cubicBezTo>
                    <a:pt x="164306" y="78581"/>
                    <a:pt x="176689" y="80486"/>
                    <a:pt x="186214" y="84296"/>
                  </a:cubicBezTo>
                  <a:cubicBezTo>
                    <a:pt x="195739" y="88106"/>
                    <a:pt x="204311" y="94774"/>
                    <a:pt x="210026" y="102394"/>
                  </a:cubicBezTo>
                  <a:cubicBezTo>
                    <a:pt x="215741" y="110966"/>
                    <a:pt x="219551" y="121444"/>
                    <a:pt x="222409" y="135731"/>
                  </a:cubicBezTo>
                  <a:cubicBezTo>
                    <a:pt x="225266" y="149066"/>
                    <a:pt x="226219" y="165259"/>
                    <a:pt x="226219" y="185261"/>
                  </a:cubicBezTo>
                  <a:lnTo>
                    <a:pt x="226219" y="328136"/>
                  </a:lnTo>
                  <a:lnTo>
                    <a:pt x="226219" y="328136"/>
                  </a:lnTo>
                  <a:lnTo>
                    <a:pt x="226219" y="337661"/>
                  </a:lnTo>
                  <a:cubicBezTo>
                    <a:pt x="226219" y="357664"/>
                    <a:pt x="242411" y="374809"/>
                    <a:pt x="263366" y="374809"/>
                  </a:cubicBezTo>
                  <a:lnTo>
                    <a:pt x="263366" y="374809"/>
                  </a:lnTo>
                  <a:lnTo>
                    <a:pt x="310039" y="374809"/>
                  </a:lnTo>
                  <a:lnTo>
                    <a:pt x="310039" y="172879"/>
                  </a:lnTo>
                  <a:cubicBezTo>
                    <a:pt x="307181" y="148114"/>
                    <a:pt x="305276" y="126206"/>
                    <a:pt x="300514" y="1052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0" name="Freeform: Shape 17">
              <a:extLst>
                <a:ext uri="{FF2B5EF4-FFF2-40B4-BE49-F238E27FC236}">
                  <a16:creationId xmlns:a16="http://schemas.microsoft.com/office/drawing/2014/main" id="{48459BC9-994A-DCBC-9C27-C6B11A014305}"/>
                </a:ext>
              </a:extLst>
            </p:cNvPr>
            <p:cNvSpPr/>
            <p:nvPr/>
          </p:nvSpPr>
          <p:spPr>
            <a:xfrm>
              <a:off x="6619395" y="1521933"/>
              <a:ext cx="457199" cy="371475"/>
            </a:xfrm>
            <a:custGeom>
              <a:avLst/>
              <a:gdLst>
                <a:gd name="connsiteX0" fmla="*/ 304324 w 457200"/>
                <a:gd name="connsiteY0" fmla="*/ 261461 h 371475"/>
                <a:gd name="connsiteX1" fmla="*/ 456724 w 457200"/>
                <a:gd name="connsiteY1" fmla="*/ 110014 h 371475"/>
                <a:gd name="connsiteX2" fmla="*/ 344329 w 457200"/>
                <a:gd name="connsiteY2" fmla="*/ 7144 h 371475"/>
                <a:gd name="connsiteX3" fmla="*/ 125254 w 457200"/>
                <a:gd name="connsiteY3" fmla="*/ 241459 h 371475"/>
                <a:gd name="connsiteX4" fmla="*/ 7144 w 457200"/>
                <a:gd name="connsiteY4" fmla="*/ 348139 h 371475"/>
                <a:gd name="connsiteX5" fmla="*/ 96679 w 457200"/>
                <a:gd name="connsiteY5" fmla="*/ 372904 h 371475"/>
                <a:gd name="connsiteX6" fmla="*/ 306229 w 457200"/>
                <a:gd name="connsiteY6" fmla="*/ 304324 h 371475"/>
                <a:gd name="connsiteX7" fmla="*/ 200501 w 457200"/>
                <a:gd name="connsiteY7" fmla="*/ 210026 h 371475"/>
                <a:gd name="connsiteX8" fmla="*/ 304324 w 457200"/>
                <a:gd name="connsiteY8" fmla="*/ 26146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7200" h="371475">
                  <a:moveTo>
                    <a:pt x="304324" y="261461"/>
                  </a:moveTo>
                  <a:cubicBezTo>
                    <a:pt x="390049" y="261461"/>
                    <a:pt x="455771" y="191929"/>
                    <a:pt x="456724" y="110014"/>
                  </a:cubicBezTo>
                  <a:cubicBezTo>
                    <a:pt x="451009" y="73819"/>
                    <a:pt x="438626" y="7144"/>
                    <a:pt x="344329" y="7144"/>
                  </a:cubicBezTo>
                  <a:cubicBezTo>
                    <a:pt x="242411" y="7144"/>
                    <a:pt x="208121" y="150019"/>
                    <a:pt x="125254" y="241459"/>
                  </a:cubicBezTo>
                  <a:cubicBezTo>
                    <a:pt x="118586" y="293846"/>
                    <a:pt x="69056" y="340519"/>
                    <a:pt x="7144" y="348139"/>
                  </a:cubicBezTo>
                  <a:cubicBezTo>
                    <a:pt x="22384" y="364331"/>
                    <a:pt x="55721" y="372904"/>
                    <a:pt x="96679" y="372904"/>
                  </a:cubicBezTo>
                  <a:cubicBezTo>
                    <a:pt x="170021" y="372904"/>
                    <a:pt x="259556" y="350996"/>
                    <a:pt x="306229" y="304324"/>
                  </a:cubicBezTo>
                  <a:cubicBezTo>
                    <a:pt x="244316" y="305276"/>
                    <a:pt x="204311" y="265271"/>
                    <a:pt x="200501" y="210026"/>
                  </a:cubicBezTo>
                  <a:cubicBezTo>
                    <a:pt x="230029" y="247174"/>
                    <a:pt x="264319" y="261461"/>
                    <a:pt x="304324" y="261461"/>
                  </a:cubicBezTo>
                  <a:close/>
                </a:path>
              </a:pathLst>
            </a:custGeom>
            <a:solidFill>
              <a:srgbClr val="17ABDB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1" name="Freeform: Shape 22">
              <a:extLst>
                <a:ext uri="{FF2B5EF4-FFF2-40B4-BE49-F238E27FC236}">
                  <a16:creationId xmlns:a16="http://schemas.microsoft.com/office/drawing/2014/main" id="{4323B10A-2961-F546-BF40-79A871B3D200}"/>
                </a:ext>
              </a:extLst>
            </p:cNvPr>
            <p:cNvSpPr/>
            <p:nvPr/>
          </p:nvSpPr>
          <p:spPr>
            <a:xfrm>
              <a:off x="3176111" y="1268567"/>
              <a:ext cx="3171823" cy="866776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2" name="Freeform: Shape 23">
              <a:extLst>
                <a:ext uri="{FF2B5EF4-FFF2-40B4-BE49-F238E27FC236}">
                  <a16:creationId xmlns:a16="http://schemas.microsoft.com/office/drawing/2014/main" id="{79AFF6CE-D730-E9BC-D0E5-52240D76BAC7}"/>
                </a:ext>
              </a:extLst>
            </p:cNvPr>
            <p:cNvSpPr/>
            <p:nvPr/>
          </p:nvSpPr>
          <p:spPr>
            <a:xfrm>
              <a:off x="5565899" y="1311398"/>
              <a:ext cx="95250" cy="104775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3" name="Freeform: Shape 24">
              <a:extLst>
                <a:ext uri="{FF2B5EF4-FFF2-40B4-BE49-F238E27FC236}">
                  <a16:creationId xmlns:a16="http://schemas.microsoft.com/office/drawing/2014/main" id="{CAFC961A-BE02-0B04-A30B-BA625DF87241}"/>
                </a:ext>
              </a:extLst>
            </p:cNvPr>
            <p:cNvSpPr/>
            <p:nvPr/>
          </p:nvSpPr>
          <p:spPr>
            <a:xfrm>
              <a:off x="6186959" y="1329492"/>
              <a:ext cx="95250" cy="95250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4" name="Freeform: Shape 25">
              <a:extLst>
                <a:ext uri="{FF2B5EF4-FFF2-40B4-BE49-F238E27FC236}">
                  <a16:creationId xmlns:a16="http://schemas.microsoft.com/office/drawing/2014/main" id="{1245FCC1-B9B3-96A5-F6D2-CFBC17BF4591}"/>
                </a:ext>
              </a:extLst>
            </p:cNvPr>
            <p:cNvSpPr/>
            <p:nvPr/>
          </p:nvSpPr>
          <p:spPr>
            <a:xfrm>
              <a:off x="6386989" y="1257136"/>
              <a:ext cx="695324" cy="581025"/>
            </a:xfrm>
            <a:custGeom>
              <a:avLst/>
              <a:gdLst>
                <a:gd name="connsiteX0" fmla="*/ 689134 w 695325"/>
                <a:gd name="connsiteY0" fmla="*/ 368141 h 581025"/>
                <a:gd name="connsiteX1" fmla="*/ 571024 w 695325"/>
                <a:gd name="connsiteY1" fmla="*/ 127159 h 581025"/>
                <a:gd name="connsiteX2" fmla="*/ 388144 w 695325"/>
                <a:gd name="connsiteY2" fmla="*/ 13811 h 581025"/>
                <a:gd name="connsiteX3" fmla="*/ 371951 w 695325"/>
                <a:gd name="connsiteY3" fmla="*/ 7144 h 581025"/>
                <a:gd name="connsiteX4" fmla="*/ 371951 w 695325"/>
                <a:gd name="connsiteY4" fmla="*/ 7144 h 581025"/>
                <a:gd name="connsiteX5" fmla="*/ 371951 w 695325"/>
                <a:gd name="connsiteY5" fmla="*/ 7144 h 581025"/>
                <a:gd name="connsiteX6" fmla="*/ 7144 w 695325"/>
                <a:gd name="connsiteY6" fmla="*/ 383381 h 581025"/>
                <a:gd name="connsiteX7" fmla="*/ 132874 w 695325"/>
                <a:gd name="connsiteY7" fmla="*/ 569119 h 581025"/>
                <a:gd name="connsiteX8" fmla="*/ 262414 w 695325"/>
                <a:gd name="connsiteY8" fmla="*/ 571976 h 581025"/>
                <a:gd name="connsiteX9" fmla="*/ 358616 w 695325"/>
                <a:gd name="connsiteY9" fmla="*/ 506254 h 581025"/>
                <a:gd name="connsiteX10" fmla="*/ 577692 w 695325"/>
                <a:gd name="connsiteY10" fmla="*/ 271939 h 581025"/>
                <a:gd name="connsiteX11" fmla="*/ 690086 w 695325"/>
                <a:gd name="connsiteY11" fmla="*/ 374809 h 581025"/>
                <a:gd name="connsiteX12" fmla="*/ 689134 w 695325"/>
                <a:gd name="connsiteY12" fmla="*/ 368141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95325" h="581025">
                  <a:moveTo>
                    <a:pt x="689134" y="368141"/>
                  </a:moveTo>
                  <a:cubicBezTo>
                    <a:pt x="687229" y="271939"/>
                    <a:pt x="641509" y="191929"/>
                    <a:pt x="571024" y="127159"/>
                  </a:cubicBezTo>
                  <a:cubicBezTo>
                    <a:pt x="517684" y="78581"/>
                    <a:pt x="453866" y="41434"/>
                    <a:pt x="388144" y="13811"/>
                  </a:cubicBezTo>
                  <a:cubicBezTo>
                    <a:pt x="382429" y="11906"/>
                    <a:pt x="377666" y="9049"/>
                    <a:pt x="371951" y="7144"/>
                  </a:cubicBezTo>
                  <a:lnTo>
                    <a:pt x="371951" y="7144"/>
                  </a:lnTo>
                  <a:cubicBezTo>
                    <a:pt x="371951" y="7144"/>
                    <a:pt x="371951" y="7144"/>
                    <a:pt x="371951" y="7144"/>
                  </a:cubicBezTo>
                  <a:cubicBezTo>
                    <a:pt x="290036" y="105251"/>
                    <a:pt x="7144" y="178594"/>
                    <a:pt x="7144" y="383381"/>
                  </a:cubicBezTo>
                  <a:cubicBezTo>
                    <a:pt x="7144" y="463391"/>
                    <a:pt x="57626" y="538639"/>
                    <a:pt x="132874" y="569119"/>
                  </a:cubicBezTo>
                  <a:cubicBezTo>
                    <a:pt x="175736" y="585311"/>
                    <a:pt x="219551" y="586264"/>
                    <a:pt x="262414" y="571976"/>
                  </a:cubicBezTo>
                  <a:cubicBezTo>
                    <a:pt x="300514" y="559594"/>
                    <a:pt x="332899" y="535781"/>
                    <a:pt x="358616" y="506254"/>
                  </a:cubicBezTo>
                  <a:cubicBezTo>
                    <a:pt x="441484" y="413861"/>
                    <a:pt x="475774" y="271939"/>
                    <a:pt x="577692" y="271939"/>
                  </a:cubicBezTo>
                  <a:cubicBezTo>
                    <a:pt x="671036" y="271939"/>
                    <a:pt x="683419" y="338614"/>
                    <a:pt x="690086" y="374809"/>
                  </a:cubicBezTo>
                  <a:cubicBezTo>
                    <a:pt x="689134" y="373856"/>
                    <a:pt x="689134" y="371951"/>
                    <a:pt x="689134" y="36814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490916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3A966515-C64B-E7BB-1198-D99D16DE65B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59896" y="1916832"/>
            <a:ext cx="7032104" cy="3528392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Insert Picture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C410B-B58E-46DB-B5F0-7F515E223D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368" y="3341212"/>
            <a:ext cx="4609034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Optional: Click to insert name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A6C182ED-7FBB-D436-05D8-96E184F17B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68" y="2924944"/>
            <a:ext cx="4609034" cy="246221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6ABBE1C-3373-50D9-4152-CA1AC4A5E7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368" y="419679"/>
            <a:ext cx="4609034" cy="2243691"/>
          </a:xfrm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3" name="Graphic 4">
            <a:extLst>
              <a:ext uri="{FF2B5EF4-FFF2-40B4-BE49-F238E27FC236}">
                <a16:creationId xmlns:a16="http://schemas.microsoft.com/office/drawing/2014/main" id="{456B0866-7AF7-4211-8935-12B8D3D5B18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368" y="6000692"/>
            <a:ext cx="2988000" cy="458780"/>
            <a:chOff x="3176111" y="1257136"/>
            <a:chExt cx="5719756" cy="878207"/>
          </a:xfrm>
        </p:grpSpPr>
        <p:sp>
          <p:nvSpPr>
            <p:cNvPr id="4" name="Freeform: Shape 2">
              <a:extLst>
                <a:ext uri="{FF2B5EF4-FFF2-40B4-BE49-F238E27FC236}">
                  <a16:creationId xmlns:a16="http://schemas.microsoft.com/office/drawing/2014/main" id="{54A8A485-8BF3-CF88-246F-A41D24D1D10B}"/>
                </a:ext>
              </a:extLst>
            </p:cNvPr>
            <p:cNvSpPr/>
            <p:nvPr/>
          </p:nvSpPr>
          <p:spPr>
            <a:xfrm>
              <a:off x="8667268" y="1360960"/>
              <a:ext cx="228599" cy="485775"/>
            </a:xfrm>
            <a:custGeom>
              <a:avLst/>
              <a:gdLst>
                <a:gd name="connsiteX0" fmla="*/ 43339 w 228600"/>
                <a:gd name="connsiteY0" fmla="*/ 14764 h 485775"/>
                <a:gd name="connsiteX1" fmla="*/ 90011 w 228600"/>
                <a:gd name="connsiteY1" fmla="*/ 7144 h 485775"/>
                <a:gd name="connsiteX2" fmla="*/ 90011 w 228600"/>
                <a:gd name="connsiteY2" fmla="*/ 118586 h 485775"/>
                <a:gd name="connsiteX3" fmla="*/ 217646 w 228600"/>
                <a:gd name="connsiteY3" fmla="*/ 118586 h 485775"/>
                <a:gd name="connsiteX4" fmla="*/ 217646 w 228600"/>
                <a:gd name="connsiteY4" fmla="*/ 148114 h 485775"/>
                <a:gd name="connsiteX5" fmla="*/ 180499 w 228600"/>
                <a:gd name="connsiteY5" fmla="*/ 185261 h 485775"/>
                <a:gd name="connsiteX6" fmla="*/ 90011 w 228600"/>
                <a:gd name="connsiteY6" fmla="*/ 185261 h 485775"/>
                <a:gd name="connsiteX7" fmla="*/ 90011 w 228600"/>
                <a:gd name="connsiteY7" fmla="*/ 330994 h 485775"/>
                <a:gd name="connsiteX8" fmla="*/ 103346 w 228600"/>
                <a:gd name="connsiteY8" fmla="*/ 392906 h 485775"/>
                <a:gd name="connsiteX9" fmla="*/ 150019 w 228600"/>
                <a:gd name="connsiteY9" fmla="*/ 411004 h 485775"/>
                <a:gd name="connsiteX10" fmla="*/ 190024 w 228600"/>
                <a:gd name="connsiteY10" fmla="*/ 406241 h 485775"/>
                <a:gd name="connsiteX11" fmla="*/ 217646 w 228600"/>
                <a:gd name="connsiteY11" fmla="*/ 397669 h 485775"/>
                <a:gd name="connsiteX12" fmla="*/ 226219 w 228600"/>
                <a:gd name="connsiteY12" fmla="*/ 438626 h 485775"/>
                <a:gd name="connsiteX13" fmla="*/ 205264 w 228600"/>
                <a:gd name="connsiteY13" fmla="*/ 472916 h 485775"/>
                <a:gd name="connsiteX14" fmla="*/ 193834 w 228600"/>
                <a:gd name="connsiteY14" fmla="*/ 475774 h 485775"/>
                <a:gd name="connsiteX15" fmla="*/ 138589 w 228600"/>
                <a:gd name="connsiteY15" fmla="*/ 482441 h 485775"/>
                <a:gd name="connsiteX16" fmla="*/ 74771 w 228600"/>
                <a:gd name="connsiteY16" fmla="*/ 471964 h 485775"/>
                <a:gd name="connsiteX17" fmla="*/ 33814 w 228600"/>
                <a:gd name="connsiteY17" fmla="*/ 442436 h 485775"/>
                <a:gd name="connsiteX18" fmla="*/ 12859 w 228600"/>
                <a:gd name="connsiteY18" fmla="*/ 394811 h 485775"/>
                <a:gd name="connsiteX19" fmla="*/ 7144 w 228600"/>
                <a:gd name="connsiteY19" fmla="*/ 330994 h 485775"/>
                <a:gd name="connsiteX20" fmla="*/ 7144 w 228600"/>
                <a:gd name="connsiteY20" fmla="*/ 56674 h 485775"/>
                <a:gd name="connsiteX21" fmla="*/ 43339 w 228600"/>
                <a:gd name="connsiteY21" fmla="*/ 14764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28600" h="485775">
                  <a:moveTo>
                    <a:pt x="43339" y="14764"/>
                  </a:moveTo>
                  <a:lnTo>
                    <a:pt x="90011" y="7144"/>
                  </a:lnTo>
                  <a:lnTo>
                    <a:pt x="90011" y="118586"/>
                  </a:lnTo>
                  <a:lnTo>
                    <a:pt x="217646" y="118586"/>
                  </a:lnTo>
                  <a:lnTo>
                    <a:pt x="217646" y="148114"/>
                  </a:lnTo>
                  <a:cubicBezTo>
                    <a:pt x="217646" y="168116"/>
                    <a:pt x="201453" y="185261"/>
                    <a:pt x="180499" y="185261"/>
                  </a:cubicBezTo>
                  <a:lnTo>
                    <a:pt x="90011" y="185261"/>
                  </a:lnTo>
                  <a:lnTo>
                    <a:pt x="90011" y="330994"/>
                  </a:lnTo>
                  <a:cubicBezTo>
                    <a:pt x="90011" y="359569"/>
                    <a:pt x="94774" y="380524"/>
                    <a:pt x="103346" y="392906"/>
                  </a:cubicBezTo>
                  <a:cubicBezTo>
                    <a:pt x="112871" y="405289"/>
                    <a:pt x="128111" y="411004"/>
                    <a:pt x="150019" y="411004"/>
                  </a:cubicBezTo>
                  <a:cubicBezTo>
                    <a:pt x="165259" y="411004"/>
                    <a:pt x="178594" y="409099"/>
                    <a:pt x="190024" y="406241"/>
                  </a:cubicBezTo>
                  <a:cubicBezTo>
                    <a:pt x="201453" y="403384"/>
                    <a:pt x="210978" y="400526"/>
                    <a:pt x="217646" y="397669"/>
                  </a:cubicBezTo>
                  <a:lnTo>
                    <a:pt x="226219" y="438626"/>
                  </a:lnTo>
                  <a:cubicBezTo>
                    <a:pt x="229076" y="453866"/>
                    <a:pt x="220503" y="469106"/>
                    <a:pt x="205264" y="472916"/>
                  </a:cubicBezTo>
                  <a:lnTo>
                    <a:pt x="193834" y="475774"/>
                  </a:lnTo>
                  <a:cubicBezTo>
                    <a:pt x="178594" y="480536"/>
                    <a:pt x="159544" y="482441"/>
                    <a:pt x="138589" y="482441"/>
                  </a:cubicBezTo>
                  <a:cubicBezTo>
                    <a:pt x="112871" y="482441"/>
                    <a:pt x="91916" y="478631"/>
                    <a:pt x="74771" y="471964"/>
                  </a:cubicBezTo>
                  <a:cubicBezTo>
                    <a:pt x="57626" y="465296"/>
                    <a:pt x="44291" y="454819"/>
                    <a:pt x="33814" y="442436"/>
                  </a:cubicBezTo>
                  <a:cubicBezTo>
                    <a:pt x="23336" y="429101"/>
                    <a:pt x="16669" y="413861"/>
                    <a:pt x="12859" y="394811"/>
                  </a:cubicBezTo>
                  <a:cubicBezTo>
                    <a:pt x="9049" y="376714"/>
                    <a:pt x="7144" y="354806"/>
                    <a:pt x="7144" y="330994"/>
                  </a:cubicBezTo>
                  <a:lnTo>
                    <a:pt x="7144" y="56674"/>
                  </a:lnTo>
                  <a:cubicBezTo>
                    <a:pt x="7144" y="36671"/>
                    <a:pt x="22384" y="18574"/>
                    <a:pt x="43339" y="14764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5" name="Freeform: Shape 3">
              <a:extLst>
                <a:ext uri="{FF2B5EF4-FFF2-40B4-BE49-F238E27FC236}">
                  <a16:creationId xmlns:a16="http://schemas.microsoft.com/office/drawing/2014/main" id="{0F1EDE7C-764B-ADB8-32A0-657E2414956D}"/>
                </a:ext>
              </a:extLst>
            </p:cNvPr>
            <p:cNvSpPr/>
            <p:nvPr/>
          </p:nvSpPr>
          <p:spPr>
            <a:xfrm>
              <a:off x="7972896" y="1460972"/>
              <a:ext cx="333375" cy="381000"/>
            </a:xfrm>
            <a:custGeom>
              <a:avLst/>
              <a:gdLst>
                <a:gd name="connsiteX0" fmla="*/ 7144 w 333375"/>
                <a:gd name="connsiteY0" fmla="*/ 196691 h 381000"/>
                <a:gd name="connsiteX1" fmla="*/ 21431 w 333375"/>
                <a:gd name="connsiteY1" fmla="*/ 113824 h 381000"/>
                <a:gd name="connsiteX2" fmla="*/ 58579 w 333375"/>
                <a:gd name="connsiteY2" fmla="*/ 54769 h 381000"/>
                <a:gd name="connsiteX3" fmla="*/ 111919 w 333375"/>
                <a:gd name="connsiteY3" fmla="*/ 19526 h 381000"/>
                <a:gd name="connsiteX4" fmla="*/ 173831 w 333375"/>
                <a:gd name="connsiteY4" fmla="*/ 7144 h 381000"/>
                <a:gd name="connsiteX5" fmla="*/ 289084 w 333375"/>
                <a:gd name="connsiteY5" fmla="*/ 52864 h 381000"/>
                <a:gd name="connsiteX6" fmla="*/ 330041 w 333375"/>
                <a:gd name="connsiteY6" fmla="*/ 189071 h 381000"/>
                <a:gd name="connsiteX7" fmla="*/ 330041 w 333375"/>
                <a:gd name="connsiteY7" fmla="*/ 204311 h 381000"/>
                <a:gd name="connsiteX8" fmla="*/ 329089 w 333375"/>
                <a:gd name="connsiteY8" fmla="*/ 219551 h 381000"/>
                <a:gd name="connsiteX9" fmla="*/ 93822 w 333375"/>
                <a:gd name="connsiteY9" fmla="*/ 219551 h 381000"/>
                <a:gd name="connsiteX10" fmla="*/ 124301 w 333375"/>
                <a:gd name="connsiteY10" fmla="*/ 286226 h 381000"/>
                <a:gd name="connsiteX11" fmla="*/ 202406 w 333375"/>
                <a:gd name="connsiteY11" fmla="*/ 310039 h 381000"/>
                <a:gd name="connsiteX12" fmla="*/ 257651 w 333375"/>
                <a:gd name="connsiteY12" fmla="*/ 304324 h 381000"/>
                <a:gd name="connsiteX13" fmla="*/ 269081 w 333375"/>
                <a:gd name="connsiteY13" fmla="*/ 301466 h 381000"/>
                <a:gd name="connsiteX14" fmla="*/ 301466 w 333375"/>
                <a:gd name="connsiteY14" fmla="*/ 323374 h 381000"/>
                <a:gd name="connsiteX15" fmla="*/ 307181 w 333375"/>
                <a:gd name="connsiteY15" fmla="*/ 360521 h 381000"/>
                <a:gd name="connsiteX16" fmla="*/ 288131 w 333375"/>
                <a:gd name="connsiteY16" fmla="*/ 368141 h 381000"/>
                <a:gd name="connsiteX17" fmla="*/ 260509 w 333375"/>
                <a:gd name="connsiteY17" fmla="*/ 374809 h 381000"/>
                <a:gd name="connsiteX18" fmla="*/ 227172 w 333375"/>
                <a:gd name="connsiteY18" fmla="*/ 379571 h 381000"/>
                <a:gd name="connsiteX19" fmla="*/ 190976 w 333375"/>
                <a:gd name="connsiteY19" fmla="*/ 381476 h 381000"/>
                <a:gd name="connsiteX20" fmla="*/ 109061 w 333375"/>
                <a:gd name="connsiteY20" fmla="*/ 367189 h 381000"/>
                <a:gd name="connsiteX21" fmla="*/ 51911 w 333375"/>
                <a:gd name="connsiteY21" fmla="*/ 328136 h 381000"/>
                <a:gd name="connsiteX22" fmla="*/ 18574 w 333375"/>
                <a:gd name="connsiteY22" fmla="*/ 269081 h 381000"/>
                <a:gd name="connsiteX23" fmla="*/ 7144 w 333375"/>
                <a:gd name="connsiteY23" fmla="*/ 196691 h 381000"/>
                <a:gd name="connsiteX24" fmla="*/ 246222 w 333375"/>
                <a:gd name="connsiteY24" fmla="*/ 159544 h 381000"/>
                <a:gd name="connsiteX25" fmla="*/ 241459 w 333375"/>
                <a:gd name="connsiteY25" fmla="*/ 127159 h 381000"/>
                <a:gd name="connsiteX26" fmla="*/ 227172 w 333375"/>
                <a:gd name="connsiteY26" fmla="*/ 100489 h 381000"/>
                <a:gd name="connsiteX27" fmla="*/ 204311 w 333375"/>
                <a:gd name="connsiteY27" fmla="*/ 82391 h 381000"/>
                <a:gd name="connsiteX28" fmla="*/ 172879 w 333375"/>
                <a:gd name="connsiteY28" fmla="*/ 75724 h 381000"/>
                <a:gd name="connsiteX29" fmla="*/ 139541 w 333375"/>
                <a:gd name="connsiteY29" fmla="*/ 83344 h 381000"/>
                <a:gd name="connsiteX30" fmla="*/ 115729 w 333375"/>
                <a:gd name="connsiteY30" fmla="*/ 102394 h 381000"/>
                <a:gd name="connsiteX31" fmla="*/ 100489 w 333375"/>
                <a:gd name="connsiteY31" fmla="*/ 129064 h 381000"/>
                <a:gd name="connsiteX32" fmla="*/ 92869 w 333375"/>
                <a:gd name="connsiteY32" fmla="*/ 159544 h 381000"/>
                <a:gd name="connsiteX33" fmla="*/ 246222 w 333375"/>
                <a:gd name="connsiteY33" fmla="*/ 159544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33375" h="381000">
                  <a:moveTo>
                    <a:pt x="7144" y="196691"/>
                  </a:moveTo>
                  <a:cubicBezTo>
                    <a:pt x="7144" y="165259"/>
                    <a:pt x="11906" y="137636"/>
                    <a:pt x="21431" y="113824"/>
                  </a:cubicBezTo>
                  <a:cubicBezTo>
                    <a:pt x="30956" y="90011"/>
                    <a:pt x="43339" y="70009"/>
                    <a:pt x="58579" y="54769"/>
                  </a:cubicBezTo>
                  <a:cubicBezTo>
                    <a:pt x="73819" y="38576"/>
                    <a:pt x="91916" y="27146"/>
                    <a:pt x="111919" y="19526"/>
                  </a:cubicBezTo>
                  <a:cubicBezTo>
                    <a:pt x="131922" y="11906"/>
                    <a:pt x="152876" y="7144"/>
                    <a:pt x="173831" y="7144"/>
                  </a:cubicBezTo>
                  <a:cubicBezTo>
                    <a:pt x="223361" y="7144"/>
                    <a:pt x="261461" y="22384"/>
                    <a:pt x="289084" y="52864"/>
                  </a:cubicBezTo>
                  <a:cubicBezTo>
                    <a:pt x="316706" y="83344"/>
                    <a:pt x="330041" y="129064"/>
                    <a:pt x="330041" y="189071"/>
                  </a:cubicBezTo>
                  <a:cubicBezTo>
                    <a:pt x="330041" y="193834"/>
                    <a:pt x="330041" y="198596"/>
                    <a:pt x="330041" y="204311"/>
                  </a:cubicBezTo>
                  <a:cubicBezTo>
                    <a:pt x="330041" y="210026"/>
                    <a:pt x="329089" y="214789"/>
                    <a:pt x="329089" y="219551"/>
                  </a:cubicBezTo>
                  <a:lnTo>
                    <a:pt x="93822" y="219551"/>
                  </a:lnTo>
                  <a:cubicBezTo>
                    <a:pt x="95726" y="248126"/>
                    <a:pt x="106204" y="270034"/>
                    <a:pt x="124301" y="286226"/>
                  </a:cubicBezTo>
                  <a:cubicBezTo>
                    <a:pt x="142399" y="301466"/>
                    <a:pt x="168116" y="310039"/>
                    <a:pt x="202406" y="310039"/>
                  </a:cubicBezTo>
                  <a:cubicBezTo>
                    <a:pt x="222409" y="310039"/>
                    <a:pt x="240506" y="308134"/>
                    <a:pt x="257651" y="304324"/>
                  </a:cubicBezTo>
                  <a:cubicBezTo>
                    <a:pt x="261461" y="303371"/>
                    <a:pt x="266224" y="302419"/>
                    <a:pt x="269081" y="301466"/>
                  </a:cubicBezTo>
                  <a:cubicBezTo>
                    <a:pt x="284322" y="297656"/>
                    <a:pt x="298609" y="308134"/>
                    <a:pt x="301466" y="323374"/>
                  </a:cubicBezTo>
                  <a:lnTo>
                    <a:pt x="307181" y="360521"/>
                  </a:lnTo>
                  <a:cubicBezTo>
                    <a:pt x="302419" y="362426"/>
                    <a:pt x="296704" y="365284"/>
                    <a:pt x="288131" y="368141"/>
                  </a:cubicBezTo>
                  <a:cubicBezTo>
                    <a:pt x="280511" y="370999"/>
                    <a:pt x="270986" y="372904"/>
                    <a:pt x="260509" y="374809"/>
                  </a:cubicBezTo>
                  <a:cubicBezTo>
                    <a:pt x="250031" y="376714"/>
                    <a:pt x="239554" y="378619"/>
                    <a:pt x="227172" y="379571"/>
                  </a:cubicBezTo>
                  <a:cubicBezTo>
                    <a:pt x="214789" y="380524"/>
                    <a:pt x="203359" y="381476"/>
                    <a:pt x="190976" y="381476"/>
                  </a:cubicBezTo>
                  <a:cubicBezTo>
                    <a:pt x="159544" y="381476"/>
                    <a:pt x="131922" y="376714"/>
                    <a:pt x="109061" y="367189"/>
                  </a:cubicBezTo>
                  <a:cubicBezTo>
                    <a:pt x="86201" y="357664"/>
                    <a:pt x="67151" y="345281"/>
                    <a:pt x="51911" y="328136"/>
                  </a:cubicBezTo>
                  <a:cubicBezTo>
                    <a:pt x="36672" y="311944"/>
                    <a:pt x="26194" y="291941"/>
                    <a:pt x="18574" y="269081"/>
                  </a:cubicBezTo>
                  <a:cubicBezTo>
                    <a:pt x="10954" y="248126"/>
                    <a:pt x="7144" y="223361"/>
                    <a:pt x="7144" y="196691"/>
                  </a:cubicBezTo>
                  <a:close/>
                  <a:moveTo>
                    <a:pt x="246222" y="159544"/>
                  </a:moveTo>
                  <a:cubicBezTo>
                    <a:pt x="246222" y="148114"/>
                    <a:pt x="244316" y="137636"/>
                    <a:pt x="241459" y="127159"/>
                  </a:cubicBezTo>
                  <a:cubicBezTo>
                    <a:pt x="238601" y="116681"/>
                    <a:pt x="233839" y="108109"/>
                    <a:pt x="227172" y="100489"/>
                  </a:cubicBezTo>
                  <a:cubicBezTo>
                    <a:pt x="221456" y="92869"/>
                    <a:pt x="213836" y="87154"/>
                    <a:pt x="204311" y="82391"/>
                  </a:cubicBezTo>
                  <a:cubicBezTo>
                    <a:pt x="195739" y="77629"/>
                    <a:pt x="185261" y="75724"/>
                    <a:pt x="172879" y="75724"/>
                  </a:cubicBezTo>
                  <a:cubicBezTo>
                    <a:pt x="160497" y="75724"/>
                    <a:pt x="149066" y="78581"/>
                    <a:pt x="139541" y="83344"/>
                  </a:cubicBezTo>
                  <a:cubicBezTo>
                    <a:pt x="130016" y="88106"/>
                    <a:pt x="121444" y="94774"/>
                    <a:pt x="115729" y="102394"/>
                  </a:cubicBezTo>
                  <a:cubicBezTo>
                    <a:pt x="110014" y="110014"/>
                    <a:pt x="104299" y="118586"/>
                    <a:pt x="100489" y="129064"/>
                  </a:cubicBezTo>
                  <a:cubicBezTo>
                    <a:pt x="96679" y="139541"/>
                    <a:pt x="94774" y="149066"/>
                    <a:pt x="92869" y="159544"/>
                  </a:cubicBezTo>
                  <a:lnTo>
                    <a:pt x="246222" y="159544"/>
                  </a:ln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4" name="Freeform: Shape 4">
              <a:extLst>
                <a:ext uri="{FF2B5EF4-FFF2-40B4-BE49-F238E27FC236}">
                  <a16:creationId xmlns:a16="http://schemas.microsoft.com/office/drawing/2014/main" id="{5D009F63-A796-70CB-F76A-B6DCDBD59800}"/>
                </a:ext>
              </a:extLst>
            </p:cNvPr>
            <p:cNvSpPr/>
            <p:nvPr/>
          </p:nvSpPr>
          <p:spPr>
            <a:xfrm>
              <a:off x="7182323" y="1317145"/>
              <a:ext cx="114301" cy="114301"/>
            </a:xfrm>
            <a:custGeom>
              <a:avLst/>
              <a:gdLst>
                <a:gd name="connsiteX0" fmla="*/ 109061 w 114300"/>
                <a:gd name="connsiteY0" fmla="*/ 58579 h 114300"/>
                <a:gd name="connsiteX1" fmla="*/ 93821 w 114300"/>
                <a:gd name="connsiteY1" fmla="*/ 95726 h 114300"/>
                <a:gd name="connsiteX2" fmla="*/ 58579 w 114300"/>
                <a:gd name="connsiteY2" fmla="*/ 109061 h 114300"/>
                <a:gd name="connsiteX3" fmla="*/ 22384 w 114300"/>
                <a:gd name="connsiteY3" fmla="*/ 95726 h 114300"/>
                <a:gd name="connsiteX4" fmla="*/ 7144 w 114300"/>
                <a:gd name="connsiteY4" fmla="*/ 58579 h 114300"/>
                <a:gd name="connsiteX5" fmla="*/ 22384 w 114300"/>
                <a:gd name="connsiteY5" fmla="*/ 20479 h 114300"/>
                <a:gd name="connsiteX6" fmla="*/ 58579 w 114300"/>
                <a:gd name="connsiteY6" fmla="*/ 7144 h 114300"/>
                <a:gd name="connsiteX7" fmla="*/ 93821 w 114300"/>
                <a:gd name="connsiteY7" fmla="*/ 20479 h 114300"/>
                <a:gd name="connsiteX8" fmla="*/ 109061 w 114300"/>
                <a:gd name="connsiteY8" fmla="*/ 58579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9061" y="58579"/>
                  </a:moveTo>
                  <a:cubicBezTo>
                    <a:pt x="109061" y="73819"/>
                    <a:pt x="104299" y="86201"/>
                    <a:pt x="93821" y="95726"/>
                  </a:cubicBezTo>
                  <a:cubicBezTo>
                    <a:pt x="83344" y="105251"/>
                    <a:pt x="71914" y="109061"/>
                    <a:pt x="58579" y="109061"/>
                  </a:cubicBezTo>
                  <a:cubicBezTo>
                    <a:pt x="44291" y="109061"/>
                    <a:pt x="31909" y="104299"/>
                    <a:pt x="22384" y="95726"/>
                  </a:cubicBezTo>
                  <a:cubicBezTo>
                    <a:pt x="11906" y="86201"/>
                    <a:pt x="7144" y="73819"/>
                    <a:pt x="7144" y="58579"/>
                  </a:cubicBezTo>
                  <a:cubicBezTo>
                    <a:pt x="7144" y="42386"/>
                    <a:pt x="11906" y="30004"/>
                    <a:pt x="22384" y="20479"/>
                  </a:cubicBezTo>
                  <a:cubicBezTo>
                    <a:pt x="32861" y="10954"/>
                    <a:pt x="44291" y="7144"/>
                    <a:pt x="58579" y="7144"/>
                  </a:cubicBezTo>
                  <a:cubicBezTo>
                    <a:pt x="71914" y="7144"/>
                    <a:pt x="84296" y="11906"/>
                    <a:pt x="93821" y="20479"/>
                  </a:cubicBezTo>
                  <a:cubicBezTo>
                    <a:pt x="104299" y="30004"/>
                    <a:pt x="109061" y="43339"/>
                    <a:pt x="109061" y="5857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5" name="Freeform: Shape 5">
              <a:extLst>
                <a:ext uri="{FF2B5EF4-FFF2-40B4-BE49-F238E27FC236}">
                  <a16:creationId xmlns:a16="http://schemas.microsoft.com/office/drawing/2014/main" id="{83D63CFD-8C7F-AB6E-DBD4-68D90B56E241}"/>
                </a:ext>
              </a:extLst>
            </p:cNvPr>
            <p:cNvSpPr/>
            <p:nvPr/>
          </p:nvSpPr>
          <p:spPr>
            <a:xfrm>
              <a:off x="7192800" y="1473355"/>
              <a:ext cx="95250" cy="371475"/>
            </a:xfrm>
            <a:custGeom>
              <a:avLst/>
              <a:gdLst>
                <a:gd name="connsiteX0" fmla="*/ 90011 w 95250"/>
                <a:gd name="connsiteY0" fmla="*/ 366236 h 371475"/>
                <a:gd name="connsiteX1" fmla="*/ 67151 w 95250"/>
                <a:gd name="connsiteY1" fmla="*/ 366236 h 371475"/>
                <a:gd name="connsiteX2" fmla="*/ 7144 w 95250"/>
                <a:gd name="connsiteY2" fmla="*/ 306229 h 371475"/>
                <a:gd name="connsiteX3" fmla="*/ 7144 w 95250"/>
                <a:gd name="connsiteY3" fmla="*/ 7144 h 371475"/>
                <a:gd name="connsiteX4" fmla="*/ 35719 w 95250"/>
                <a:gd name="connsiteY4" fmla="*/ 7144 h 371475"/>
                <a:gd name="connsiteX5" fmla="*/ 90011 w 95250"/>
                <a:gd name="connsiteY5" fmla="*/ 62389 h 371475"/>
                <a:gd name="connsiteX6" fmla="*/ 90011 w 95250"/>
                <a:gd name="connsiteY6" fmla="*/ 366236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250" h="371475">
                  <a:moveTo>
                    <a:pt x="90011" y="366236"/>
                  </a:moveTo>
                  <a:lnTo>
                    <a:pt x="67151" y="366236"/>
                  </a:lnTo>
                  <a:cubicBezTo>
                    <a:pt x="33814" y="366236"/>
                    <a:pt x="7144" y="339566"/>
                    <a:pt x="7144" y="306229"/>
                  </a:cubicBezTo>
                  <a:lnTo>
                    <a:pt x="7144" y="7144"/>
                  </a:lnTo>
                  <a:lnTo>
                    <a:pt x="35719" y="7144"/>
                  </a:lnTo>
                  <a:cubicBezTo>
                    <a:pt x="66199" y="7144"/>
                    <a:pt x="90011" y="31909"/>
                    <a:pt x="90011" y="62389"/>
                  </a:cubicBezTo>
                  <a:lnTo>
                    <a:pt x="90011" y="366236"/>
                  </a:ln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6" name="Freeform: Shape 6">
              <a:extLst>
                <a:ext uri="{FF2B5EF4-FFF2-40B4-BE49-F238E27FC236}">
                  <a16:creationId xmlns:a16="http://schemas.microsoft.com/office/drawing/2014/main" id="{BEB9BA05-C2BE-E213-0023-9C0E3346BEF0}"/>
                </a:ext>
              </a:extLst>
            </p:cNvPr>
            <p:cNvSpPr/>
            <p:nvPr/>
          </p:nvSpPr>
          <p:spPr>
            <a:xfrm>
              <a:off x="7637617" y="1474308"/>
              <a:ext cx="352426" cy="371475"/>
            </a:xfrm>
            <a:custGeom>
              <a:avLst/>
              <a:gdLst>
                <a:gd name="connsiteX0" fmla="*/ 287179 w 352425"/>
                <a:gd name="connsiteY0" fmla="*/ 7144 h 371475"/>
                <a:gd name="connsiteX1" fmla="*/ 250031 w 352425"/>
                <a:gd name="connsiteY1" fmla="*/ 43339 h 371475"/>
                <a:gd name="connsiteX2" fmla="*/ 179547 w 352425"/>
                <a:gd name="connsiteY2" fmla="*/ 246221 h 371475"/>
                <a:gd name="connsiteX3" fmla="*/ 106204 w 352425"/>
                <a:gd name="connsiteY3" fmla="*/ 47149 h 371475"/>
                <a:gd name="connsiteX4" fmla="*/ 68104 w 352425"/>
                <a:gd name="connsiteY4" fmla="*/ 7144 h 371475"/>
                <a:gd name="connsiteX5" fmla="*/ 27147 w 352425"/>
                <a:gd name="connsiteY5" fmla="*/ 7144 h 371475"/>
                <a:gd name="connsiteX6" fmla="*/ 7144 w 352425"/>
                <a:gd name="connsiteY6" fmla="*/ 7144 h 371475"/>
                <a:gd name="connsiteX7" fmla="*/ 130969 w 352425"/>
                <a:gd name="connsiteY7" fmla="*/ 329089 h 371475"/>
                <a:gd name="connsiteX8" fmla="*/ 171927 w 352425"/>
                <a:gd name="connsiteY8" fmla="*/ 365284 h 371475"/>
                <a:gd name="connsiteX9" fmla="*/ 213836 w 352425"/>
                <a:gd name="connsiteY9" fmla="*/ 365284 h 371475"/>
                <a:gd name="connsiteX10" fmla="*/ 350044 w 352425"/>
                <a:gd name="connsiteY10" fmla="*/ 7144 h 371475"/>
                <a:gd name="connsiteX11" fmla="*/ 287179 w 352425"/>
                <a:gd name="connsiteY11" fmla="*/ 7144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52425" h="371475">
                  <a:moveTo>
                    <a:pt x="287179" y="7144"/>
                  </a:moveTo>
                  <a:cubicBezTo>
                    <a:pt x="265272" y="7144"/>
                    <a:pt x="259556" y="18574"/>
                    <a:pt x="250031" y="43339"/>
                  </a:cubicBezTo>
                  <a:lnTo>
                    <a:pt x="179547" y="246221"/>
                  </a:lnTo>
                  <a:lnTo>
                    <a:pt x="106204" y="47149"/>
                  </a:lnTo>
                  <a:cubicBezTo>
                    <a:pt x="97631" y="21431"/>
                    <a:pt x="90011" y="7144"/>
                    <a:pt x="68104" y="7144"/>
                  </a:cubicBezTo>
                  <a:lnTo>
                    <a:pt x="27147" y="7144"/>
                  </a:lnTo>
                  <a:lnTo>
                    <a:pt x="7144" y="7144"/>
                  </a:lnTo>
                  <a:lnTo>
                    <a:pt x="130969" y="329089"/>
                  </a:lnTo>
                  <a:cubicBezTo>
                    <a:pt x="142399" y="352901"/>
                    <a:pt x="150019" y="365284"/>
                    <a:pt x="171927" y="365284"/>
                  </a:cubicBezTo>
                  <a:lnTo>
                    <a:pt x="213836" y="365284"/>
                  </a:lnTo>
                  <a:lnTo>
                    <a:pt x="350044" y="7144"/>
                  </a:lnTo>
                  <a:lnTo>
                    <a:pt x="287179" y="7144"/>
                  </a:ln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7" name="Freeform: Shape 7">
              <a:extLst>
                <a:ext uri="{FF2B5EF4-FFF2-40B4-BE49-F238E27FC236}">
                  <a16:creationId xmlns:a16="http://schemas.microsoft.com/office/drawing/2014/main" id="{7A82A036-8432-8018-3339-694A54F89D3E}"/>
                </a:ext>
              </a:extLst>
            </p:cNvPr>
            <p:cNvSpPr/>
            <p:nvPr/>
          </p:nvSpPr>
          <p:spPr>
            <a:xfrm>
              <a:off x="7326150" y="1464782"/>
              <a:ext cx="314325" cy="381000"/>
            </a:xfrm>
            <a:custGeom>
              <a:avLst/>
              <a:gdLst>
                <a:gd name="connsiteX0" fmla="*/ 300514 w 314325"/>
                <a:gd name="connsiteY0" fmla="*/ 105251 h 381000"/>
                <a:gd name="connsiteX1" fmla="*/ 275749 w 314325"/>
                <a:gd name="connsiteY1" fmla="*/ 52864 h 381000"/>
                <a:gd name="connsiteX2" fmla="*/ 229076 w 314325"/>
                <a:gd name="connsiteY2" fmla="*/ 19526 h 381000"/>
                <a:gd name="connsiteX3" fmla="*/ 155734 w 314325"/>
                <a:gd name="connsiteY3" fmla="*/ 7144 h 381000"/>
                <a:gd name="connsiteX4" fmla="*/ 70009 w 314325"/>
                <a:gd name="connsiteY4" fmla="*/ 13811 h 381000"/>
                <a:gd name="connsiteX5" fmla="*/ 7144 w 314325"/>
                <a:gd name="connsiteY5" fmla="*/ 27146 h 381000"/>
                <a:gd name="connsiteX6" fmla="*/ 7144 w 314325"/>
                <a:gd name="connsiteY6" fmla="*/ 329089 h 381000"/>
                <a:gd name="connsiteX7" fmla="*/ 7144 w 314325"/>
                <a:gd name="connsiteY7" fmla="*/ 329089 h 381000"/>
                <a:gd name="connsiteX8" fmla="*/ 7144 w 314325"/>
                <a:gd name="connsiteY8" fmla="*/ 338614 h 381000"/>
                <a:gd name="connsiteX9" fmla="*/ 44291 w 314325"/>
                <a:gd name="connsiteY9" fmla="*/ 375761 h 381000"/>
                <a:gd name="connsiteX10" fmla="*/ 45244 w 314325"/>
                <a:gd name="connsiteY10" fmla="*/ 375761 h 381000"/>
                <a:gd name="connsiteX11" fmla="*/ 45244 w 314325"/>
                <a:gd name="connsiteY11" fmla="*/ 375761 h 381000"/>
                <a:gd name="connsiteX12" fmla="*/ 90964 w 314325"/>
                <a:gd name="connsiteY12" fmla="*/ 375761 h 381000"/>
                <a:gd name="connsiteX13" fmla="*/ 90964 w 314325"/>
                <a:gd name="connsiteY13" fmla="*/ 84296 h 381000"/>
                <a:gd name="connsiteX14" fmla="*/ 116682 w 314325"/>
                <a:gd name="connsiteY14" fmla="*/ 80486 h 381000"/>
                <a:gd name="connsiteX15" fmla="*/ 150019 w 314325"/>
                <a:gd name="connsiteY15" fmla="*/ 78581 h 381000"/>
                <a:gd name="connsiteX16" fmla="*/ 186214 w 314325"/>
                <a:gd name="connsiteY16" fmla="*/ 84296 h 381000"/>
                <a:gd name="connsiteX17" fmla="*/ 210026 w 314325"/>
                <a:gd name="connsiteY17" fmla="*/ 102394 h 381000"/>
                <a:gd name="connsiteX18" fmla="*/ 222409 w 314325"/>
                <a:gd name="connsiteY18" fmla="*/ 135731 h 381000"/>
                <a:gd name="connsiteX19" fmla="*/ 226219 w 314325"/>
                <a:gd name="connsiteY19" fmla="*/ 185261 h 381000"/>
                <a:gd name="connsiteX20" fmla="*/ 226219 w 314325"/>
                <a:gd name="connsiteY20" fmla="*/ 328136 h 381000"/>
                <a:gd name="connsiteX21" fmla="*/ 226219 w 314325"/>
                <a:gd name="connsiteY21" fmla="*/ 328136 h 381000"/>
                <a:gd name="connsiteX22" fmla="*/ 226219 w 314325"/>
                <a:gd name="connsiteY22" fmla="*/ 337661 h 381000"/>
                <a:gd name="connsiteX23" fmla="*/ 263366 w 314325"/>
                <a:gd name="connsiteY23" fmla="*/ 374809 h 381000"/>
                <a:gd name="connsiteX24" fmla="*/ 263366 w 314325"/>
                <a:gd name="connsiteY24" fmla="*/ 374809 h 381000"/>
                <a:gd name="connsiteX25" fmla="*/ 310039 w 314325"/>
                <a:gd name="connsiteY25" fmla="*/ 374809 h 381000"/>
                <a:gd name="connsiteX26" fmla="*/ 310039 w 314325"/>
                <a:gd name="connsiteY26" fmla="*/ 172879 h 381000"/>
                <a:gd name="connsiteX27" fmla="*/ 300514 w 314325"/>
                <a:gd name="connsiteY27" fmla="*/ 105251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14325" h="381000">
                  <a:moveTo>
                    <a:pt x="300514" y="105251"/>
                  </a:moveTo>
                  <a:cubicBezTo>
                    <a:pt x="295751" y="85249"/>
                    <a:pt x="287179" y="67151"/>
                    <a:pt x="275749" y="52864"/>
                  </a:cubicBezTo>
                  <a:cubicBezTo>
                    <a:pt x="264319" y="38576"/>
                    <a:pt x="248126" y="27146"/>
                    <a:pt x="229076" y="19526"/>
                  </a:cubicBezTo>
                  <a:cubicBezTo>
                    <a:pt x="209074" y="11906"/>
                    <a:pt x="185261" y="7144"/>
                    <a:pt x="155734" y="7144"/>
                  </a:cubicBezTo>
                  <a:cubicBezTo>
                    <a:pt x="124301" y="7144"/>
                    <a:pt x="95726" y="9049"/>
                    <a:pt x="70009" y="13811"/>
                  </a:cubicBezTo>
                  <a:cubicBezTo>
                    <a:pt x="44291" y="17621"/>
                    <a:pt x="23336" y="22384"/>
                    <a:pt x="7144" y="27146"/>
                  </a:cubicBezTo>
                  <a:lnTo>
                    <a:pt x="7144" y="329089"/>
                  </a:lnTo>
                  <a:lnTo>
                    <a:pt x="7144" y="329089"/>
                  </a:lnTo>
                  <a:lnTo>
                    <a:pt x="7144" y="338614"/>
                  </a:lnTo>
                  <a:cubicBezTo>
                    <a:pt x="7144" y="358616"/>
                    <a:pt x="23336" y="375761"/>
                    <a:pt x="44291" y="375761"/>
                  </a:cubicBezTo>
                  <a:lnTo>
                    <a:pt x="45244" y="375761"/>
                  </a:lnTo>
                  <a:lnTo>
                    <a:pt x="45244" y="375761"/>
                  </a:lnTo>
                  <a:lnTo>
                    <a:pt x="90964" y="375761"/>
                  </a:lnTo>
                  <a:lnTo>
                    <a:pt x="90964" y="84296"/>
                  </a:lnTo>
                  <a:cubicBezTo>
                    <a:pt x="96679" y="83344"/>
                    <a:pt x="105251" y="82391"/>
                    <a:pt x="116682" y="80486"/>
                  </a:cubicBezTo>
                  <a:cubicBezTo>
                    <a:pt x="128111" y="79534"/>
                    <a:pt x="139541" y="78581"/>
                    <a:pt x="150019" y="78581"/>
                  </a:cubicBezTo>
                  <a:cubicBezTo>
                    <a:pt x="164307" y="78581"/>
                    <a:pt x="176689" y="80486"/>
                    <a:pt x="186214" y="84296"/>
                  </a:cubicBezTo>
                  <a:cubicBezTo>
                    <a:pt x="195739" y="88106"/>
                    <a:pt x="204311" y="94774"/>
                    <a:pt x="210026" y="102394"/>
                  </a:cubicBezTo>
                  <a:cubicBezTo>
                    <a:pt x="215741" y="110966"/>
                    <a:pt x="219551" y="121444"/>
                    <a:pt x="222409" y="135731"/>
                  </a:cubicBezTo>
                  <a:cubicBezTo>
                    <a:pt x="225266" y="149066"/>
                    <a:pt x="226219" y="165259"/>
                    <a:pt x="226219" y="185261"/>
                  </a:cubicBezTo>
                  <a:lnTo>
                    <a:pt x="226219" y="328136"/>
                  </a:lnTo>
                  <a:lnTo>
                    <a:pt x="226219" y="328136"/>
                  </a:lnTo>
                  <a:lnTo>
                    <a:pt x="226219" y="337661"/>
                  </a:lnTo>
                  <a:cubicBezTo>
                    <a:pt x="226219" y="357664"/>
                    <a:pt x="242411" y="374809"/>
                    <a:pt x="263366" y="374809"/>
                  </a:cubicBezTo>
                  <a:lnTo>
                    <a:pt x="263366" y="374809"/>
                  </a:lnTo>
                  <a:lnTo>
                    <a:pt x="310039" y="374809"/>
                  </a:lnTo>
                  <a:lnTo>
                    <a:pt x="310039" y="172879"/>
                  </a:lnTo>
                  <a:cubicBezTo>
                    <a:pt x="308134" y="148114"/>
                    <a:pt x="305276" y="126206"/>
                    <a:pt x="300514" y="1052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8" name="Freeform: Shape 8">
              <a:extLst>
                <a:ext uri="{FF2B5EF4-FFF2-40B4-BE49-F238E27FC236}">
                  <a16:creationId xmlns:a16="http://schemas.microsoft.com/office/drawing/2014/main" id="{4F09DDE6-63A0-9572-3F7C-DCE81907F856}"/>
                </a:ext>
              </a:extLst>
            </p:cNvPr>
            <p:cNvSpPr/>
            <p:nvPr/>
          </p:nvSpPr>
          <p:spPr>
            <a:xfrm>
              <a:off x="8331989" y="1464782"/>
              <a:ext cx="314325" cy="381000"/>
            </a:xfrm>
            <a:custGeom>
              <a:avLst/>
              <a:gdLst>
                <a:gd name="connsiteX0" fmla="*/ 300514 w 314325"/>
                <a:gd name="connsiteY0" fmla="*/ 105251 h 381000"/>
                <a:gd name="connsiteX1" fmla="*/ 275749 w 314325"/>
                <a:gd name="connsiteY1" fmla="*/ 52864 h 381000"/>
                <a:gd name="connsiteX2" fmla="*/ 229076 w 314325"/>
                <a:gd name="connsiteY2" fmla="*/ 19526 h 381000"/>
                <a:gd name="connsiteX3" fmla="*/ 155734 w 314325"/>
                <a:gd name="connsiteY3" fmla="*/ 7144 h 381000"/>
                <a:gd name="connsiteX4" fmla="*/ 70009 w 314325"/>
                <a:gd name="connsiteY4" fmla="*/ 13811 h 381000"/>
                <a:gd name="connsiteX5" fmla="*/ 7144 w 314325"/>
                <a:gd name="connsiteY5" fmla="*/ 27146 h 381000"/>
                <a:gd name="connsiteX6" fmla="*/ 7144 w 314325"/>
                <a:gd name="connsiteY6" fmla="*/ 329089 h 381000"/>
                <a:gd name="connsiteX7" fmla="*/ 7144 w 314325"/>
                <a:gd name="connsiteY7" fmla="*/ 329089 h 381000"/>
                <a:gd name="connsiteX8" fmla="*/ 7144 w 314325"/>
                <a:gd name="connsiteY8" fmla="*/ 338614 h 381000"/>
                <a:gd name="connsiteX9" fmla="*/ 44291 w 314325"/>
                <a:gd name="connsiteY9" fmla="*/ 375761 h 381000"/>
                <a:gd name="connsiteX10" fmla="*/ 45244 w 314325"/>
                <a:gd name="connsiteY10" fmla="*/ 375761 h 381000"/>
                <a:gd name="connsiteX11" fmla="*/ 45244 w 314325"/>
                <a:gd name="connsiteY11" fmla="*/ 375761 h 381000"/>
                <a:gd name="connsiteX12" fmla="*/ 90964 w 314325"/>
                <a:gd name="connsiteY12" fmla="*/ 375761 h 381000"/>
                <a:gd name="connsiteX13" fmla="*/ 90964 w 314325"/>
                <a:gd name="connsiteY13" fmla="*/ 84296 h 381000"/>
                <a:gd name="connsiteX14" fmla="*/ 116681 w 314325"/>
                <a:gd name="connsiteY14" fmla="*/ 80486 h 381000"/>
                <a:gd name="connsiteX15" fmla="*/ 150019 w 314325"/>
                <a:gd name="connsiteY15" fmla="*/ 78581 h 381000"/>
                <a:gd name="connsiteX16" fmla="*/ 186214 w 314325"/>
                <a:gd name="connsiteY16" fmla="*/ 84296 h 381000"/>
                <a:gd name="connsiteX17" fmla="*/ 210026 w 314325"/>
                <a:gd name="connsiteY17" fmla="*/ 102394 h 381000"/>
                <a:gd name="connsiteX18" fmla="*/ 222409 w 314325"/>
                <a:gd name="connsiteY18" fmla="*/ 135731 h 381000"/>
                <a:gd name="connsiteX19" fmla="*/ 226219 w 314325"/>
                <a:gd name="connsiteY19" fmla="*/ 185261 h 381000"/>
                <a:gd name="connsiteX20" fmla="*/ 226219 w 314325"/>
                <a:gd name="connsiteY20" fmla="*/ 328136 h 381000"/>
                <a:gd name="connsiteX21" fmla="*/ 226219 w 314325"/>
                <a:gd name="connsiteY21" fmla="*/ 328136 h 381000"/>
                <a:gd name="connsiteX22" fmla="*/ 226219 w 314325"/>
                <a:gd name="connsiteY22" fmla="*/ 337661 h 381000"/>
                <a:gd name="connsiteX23" fmla="*/ 263366 w 314325"/>
                <a:gd name="connsiteY23" fmla="*/ 374809 h 381000"/>
                <a:gd name="connsiteX24" fmla="*/ 263366 w 314325"/>
                <a:gd name="connsiteY24" fmla="*/ 374809 h 381000"/>
                <a:gd name="connsiteX25" fmla="*/ 310039 w 314325"/>
                <a:gd name="connsiteY25" fmla="*/ 374809 h 381000"/>
                <a:gd name="connsiteX26" fmla="*/ 310039 w 314325"/>
                <a:gd name="connsiteY26" fmla="*/ 172879 h 381000"/>
                <a:gd name="connsiteX27" fmla="*/ 300514 w 314325"/>
                <a:gd name="connsiteY27" fmla="*/ 105251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14325" h="381000">
                  <a:moveTo>
                    <a:pt x="300514" y="105251"/>
                  </a:moveTo>
                  <a:cubicBezTo>
                    <a:pt x="295751" y="85249"/>
                    <a:pt x="287179" y="67151"/>
                    <a:pt x="275749" y="52864"/>
                  </a:cubicBezTo>
                  <a:cubicBezTo>
                    <a:pt x="264319" y="38576"/>
                    <a:pt x="248126" y="27146"/>
                    <a:pt x="229076" y="19526"/>
                  </a:cubicBezTo>
                  <a:cubicBezTo>
                    <a:pt x="209074" y="11906"/>
                    <a:pt x="185261" y="7144"/>
                    <a:pt x="155734" y="7144"/>
                  </a:cubicBezTo>
                  <a:cubicBezTo>
                    <a:pt x="124301" y="7144"/>
                    <a:pt x="95726" y="9049"/>
                    <a:pt x="70009" y="13811"/>
                  </a:cubicBezTo>
                  <a:cubicBezTo>
                    <a:pt x="44291" y="17621"/>
                    <a:pt x="23336" y="22384"/>
                    <a:pt x="7144" y="27146"/>
                  </a:cubicBezTo>
                  <a:lnTo>
                    <a:pt x="7144" y="329089"/>
                  </a:lnTo>
                  <a:lnTo>
                    <a:pt x="7144" y="329089"/>
                  </a:lnTo>
                  <a:lnTo>
                    <a:pt x="7144" y="338614"/>
                  </a:lnTo>
                  <a:cubicBezTo>
                    <a:pt x="7144" y="358616"/>
                    <a:pt x="23336" y="375761"/>
                    <a:pt x="44291" y="375761"/>
                  </a:cubicBezTo>
                  <a:lnTo>
                    <a:pt x="45244" y="375761"/>
                  </a:lnTo>
                  <a:lnTo>
                    <a:pt x="45244" y="375761"/>
                  </a:lnTo>
                  <a:lnTo>
                    <a:pt x="90964" y="375761"/>
                  </a:lnTo>
                  <a:lnTo>
                    <a:pt x="90964" y="84296"/>
                  </a:lnTo>
                  <a:cubicBezTo>
                    <a:pt x="96679" y="83344"/>
                    <a:pt x="105251" y="82391"/>
                    <a:pt x="116681" y="80486"/>
                  </a:cubicBezTo>
                  <a:cubicBezTo>
                    <a:pt x="128111" y="79534"/>
                    <a:pt x="139541" y="78581"/>
                    <a:pt x="150019" y="78581"/>
                  </a:cubicBezTo>
                  <a:cubicBezTo>
                    <a:pt x="164306" y="78581"/>
                    <a:pt x="176689" y="80486"/>
                    <a:pt x="186214" y="84296"/>
                  </a:cubicBezTo>
                  <a:cubicBezTo>
                    <a:pt x="195739" y="88106"/>
                    <a:pt x="204311" y="94774"/>
                    <a:pt x="210026" y="102394"/>
                  </a:cubicBezTo>
                  <a:cubicBezTo>
                    <a:pt x="215741" y="110966"/>
                    <a:pt x="219551" y="121444"/>
                    <a:pt x="222409" y="135731"/>
                  </a:cubicBezTo>
                  <a:cubicBezTo>
                    <a:pt x="225266" y="149066"/>
                    <a:pt x="226219" y="165259"/>
                    <a:pt x="226219" y="185261"/>
                  </a:cubicBezTo>
                  <a:lnTo>
                    <a:pt x="226219" y="328136"/>
                  </a:lnTo>
                  <a:lnTo>
                    <a:pt x="226219" y="328136"/>
                  </a:lnTo>
                  <a:lnTo>
                    <a:pt x="226219" y="337661"/>
                  </a:lnTo>
                  <a:cubicBezTo>
                    <a:pt x="226219" y="357664"/>
                    <a:pt x="242411" y="374809"/>
                    <a:pt x="263366" y="374809"/>
                  </a:cubicBezTo>
                  <a:lnTo>
                    <a:pt x="263366" y="374809"/>
                  </a:lnTo>
                  <a:lnTo>
                    <a:pt x="310039" y="374809"/>
                  </a:lnTo>
                  <a:lnTo>
                    <a:pt x="310039" y="172879"/>
                  </a:lnTo>
                  <a:cubicBezTo>
                    <a:pt x="307181" y="148114"/>
                    <a:pt x="305276" y="126206"/>
                    <a:pt x="300514" y="1052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0" name="Freeform: Shape 17">
              <a:extLst>
                <a:ext uri="{FF2B5EF4-FFF2-40B4-BE49-F238E27FC236}">
                  <a16:creationId xmlns:a16="http://schemas.microsoft.com/office/drawing/2014/main" id="{4EA2D3E5-5B34-B064-F96A-41B9FA11A47B}"/>
                </a:ext>
              </a:extLst>
            </p:cNvPr>
            <p:cNvSpPr/>
            <p:nvPr/>
          </p:nvSpPr>
          <p:spPr>
            <a:xfrm>
              <a:off x="6619395" y="1521933"/>
              <a:ext cx="457199" cy="371475"/>
            </a:xfrm>
            <a:custGeom>
              <a:avLst/>
              <a:gdLst>
                <a:gd name="connsiteX0" fmla="*/ 304324 w 457200"/>
                <a:gd name="connsiteY0" fmla="*/ 261461 h 371475"/>
                <a:gd name="connsiteX1" fmla="*/ 456724 w 457200"/>
                <a:gd name="connsiteY1" fmla="*/ 110014 h 371475"/>
                <a:gd name="connsiteX2" fmla="*/ 344329 w 457200"/>
                <a:gd name="connsiteY2" fmla="*/ 7144 h 371475"/>
                <a:gd name="connsiteX3" fmla="*/ 125254 w 457200"/>
                <a:gd name="connsiteY3" fmla="*/ 241459 h 371475"/>
                <a:gd name="connsiteX4" fmla="*/ 7144 w 457200"/>
                <a:gd name="connsiteY4" fmla="*/ 348139 h 371475"/>
                <a:gd name="connsiteX5" fmla="*/ 96679 w 457200"/>
                <a:gd name="connsiteY5" fmla="*/ 372904 h 371475"/>
                <a:gd name="connsiteX6" fmla="*/ 306229 w 457200"/>
                <a:gd name="connsiteY6" fmla="*/ 304324 h 371475"/>
                <a:gd name="connsiteX7" fmla="*/ 200501 w 457200"/>
                <a:gd name="connsiteY7" fmla="*/ 210026 h 371475"/>
                <a:gd name="connsiteX8" fmla="*/ 304324 w 457200"/>
                <a:gd name="connsiteY8" fmla="*/ 26146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7200" h="371475">
                  <a:moveTo>
                    <a:pt x="304324" y="261461"/>
                  </a:moveTo>
                  <a:cubicBezTo>
                    <a:pt x="390049" y="261461"/>
                    <a:pt x="455771" y="191929"/>
                    <a:pt x="456724" y="110014"/>
                  </a:cubicBezTo>
                  <a:cubicBezTo>
                    <a:pt x="451009" y="73819"/>
                    <a:pt x="438626" y="7144"/>
                    <a:pt x="344329" y="7144"/>
                  </a:cubicBezTo>
                  <a:cubicBezTo>
                    <a:pt x="242411" y="7144"/>
                    <a:pt x="208121" y="150019"/>
                    <a:pt x="125254" y="241459"/>
                  </a:cubicBezTo>
                  <a:cubicBezTo>
                    <a:pt x="118586" y="293846"/>
                    <a:pt x="69056" y="340519"/>
                    <a:pt x="7144" y="348139"/>
                  </a:cubicBezTo>
                  <a:cubicBezTo>
                    <a:pt x="22384" y="364331"/>
                    <a:pt x="55721" y="372904"/>
                    <a:pt x="96679" y="372904"/>
                  </a:cubicBezTo>
                  <a:cubicBezTo>
                    <a:pt x="170021" y="372904"/>
                    <a:pt x="259556" y="350996"/>
                    <a:pt x="306229" y="304324"/>
                  </a:cubicBezTo>
                  <a:cubicBezTo>
                    <a:pt x="244316" y="305276"/>
                    <a:pt x="204311" y="265271"/>
                    <a:pt x="200501" y="210026"/>
                  </a:cubicBezTo>
                  <a:cubicBezTo>
                    <a:pt x="230029" y="247174"/>
                    <a:pt x="264319" y="261461"/>
                    <a:pt x="304324" y="261461"/>
                  </a:cubicBezTo>
                  <a:close/>
                </a:path>
              </a:pathLst>
            </a:custGeom>
            <a:solidFill>
              <a:srgbClr val="17ABDB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1" name="Freeform: Shape 22">
              <a:extLst>
                <a:ext uri="{FF2B5EF4-FFF2-40B4-BE49-F238E27FC236}">
                  <a16:creationId xmlns:a16="http://schemas.microsoft.com/office/drawing/2014/main" id="{C24CAF19-4916-648F-BDDC-85F08ADD3918}"/>
                </a:ext>
              </a:extLst>
            </p:cNvPr>
            <p:cNvSpPr/>
            <p:nvPr/>
          </p:nvSpPr>
          <p:spPr>
            <a:xfrm>
              <a:off x="3176111" y="1268567"/>
              <a:ext cx="3171823" cy="866776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2" name="Freeform: Shape 23">
              <a:extLst>
                <a:ext uri="{FF2B5EF4-FFF2-40B4-BE49-F238E27FC236}">
                  <a16:creationId xmlns:a16="http://schemas.microsoft.com/office/drawing/2014/main" id="{CAFC3328-A763-C627-4C0A-3C9CD8F58904}"/>
                </a:ext>
              </a:extLst>
            </p:cNvPr>
            <p:cNvSpPr/>
            <p:nvPr/>
          </p:nvSpPr>
          <p:spPr>
            <a:xfrm>
              <a:off x="5565899" y="1311398"/>
              <a:ext cx="95250" cy="104775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3" name="Freeform: Shape 24">
              <a:extLst>
                <a:ext uri="{FF2B5EF4-FFF2-40B4-BE49-F238E27FC236}">
                  <a16:creationId xmlns:a16="http://schemas.microsoft.com/office/drawing/2014/main" id="{BBEEDEAE-85A1-D753-0341-DC8D65A07D84}"/>
                </a:ext>
              </a:extLst>
            </p:cNvPr>
            <p:cNvSpPr/>
            <p:nvPr/>
          </p:nvSpPr>
          <p:spPr>
            <a:xfrm>
              <a:off x="6186959" y="1329492"/>
              <a:ext cx="95250" cy="95250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4" name="Freeform: Shape 25">
              <a:extLst>
                <a:ext uri="{FF2B5EF4-FFF2-40B4-BE49-F238E27FC236}">
                  <a16:creationId xmlns:a16="http://schemas.microsoft.com/office/drawing/2014/main" id="{E52FC6A2-A962-AA99-F834-2B03863AF498}"/>
                </a:ext>
              </a:extLst>
            </p:cNvPr>
            <p:cNvSpPr/>
            <p:nvPr/>
          </p:nvSpPr>
          <p:spPr>
            <a:xfrm>
              <a:off x="6386989" y="1257136"/>
              <a:ext cx="695324" cy="581025"/>
            </a:xfrm>
            <a:custGeom>
              <a:avLst/>
              <a:gdLst>
                <a:gd name="connsiteX0" fmla="*/ 689134 w 695325"/>
                <a:gd name="connsiteY0" fmla="*/ 368141 h 581025"/>
                <a:gd name="connsiteX1" fmla="*/ 571024 w 695325"/>
                <a:gd name="connsiteY1" fmla="*/ 127159 h 581025"/>
                <a:gd name="connsiteX2" fmla="*/ 388144 w 695325"/>
                <a:gd name="connsiteY2" fmla="*/ 13811 h 581025"/>
                <a:gd name="connsiteX3" fmla="*/ 371951 w 695325"/>
                <a:gd name="connsiteY3" fmla="*/ 7144 h 581025"/>
                <a:gd name="connsiteX4" fmla="*/ 371951 w 695325"/>
                <a:gd name="connsiteY4" fmla="*/ 7144 h 581025"/>
                <a:gd name="connsiteX5" fmla="*/ 371951 w 695325"/>
                <a:gd name="connsiteY5" fmla="*/ 7144 h 581025"/>
                <a:gd name="connsiteX6" fmla="*/ 7144 w 695325"/>
                <a:gd name="connsiteY6" fmla="*/ 383381 h 581025"/>
                <a:gd name="connsiteX7" fmla="*/ 132874 w 695325"/>
                <a:gd name="connsiteY7" fmla="*/ 569119 h 581025"/>
                <a:gd name="connsiteX8" fmla="*/ 262414 w 695325"/>
                <a:gd name="connsiteY8" fmla="*/ 571976 h 581025"/>
                <a:gd name="connsiteX9" fmla="*/ 358616 w 695325"/>
                <a:gd name="connsiteY9" fmla="*/ 506254 h 581025"/>
                <a:gd name="connsiteX10" fmla="*/ 577692 w 695325"/>
                <a:gd name="connsiteY10" fmla="*/ 271939 h 581025"/>
                <a:gd name="connsiteX11" fmla="*/ 690086 w 695325"/>
                <a:gd name="connsiteY11" fmla="*/ 374809 h 581025"/>
                <a:gd name="connsiteX12" fmla="*/ 689134 w 695325"/>
                <a:gd name="connsiteY12" fmla="*/ 368141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95325" h="581025">
                  <a:moveTo>
                    <a:pt x="689134" y="368141"/>
                  </a:moveTo>
                  <a:cubicBezTo>
                    <a:pt x="687229" y="271939"/>
                    <a:pt x="641509" y="191929"/>
                    <a:pt x="571024" y="127159"/>
                  </a:cubicBezTo>
                  <a:cubicBezTo>
                    <a:pt x="517684" y="78581"/>
                    <a:pt x="453866" y="41434"/>
                    <a:pt x="388144" y="13811"/>
                  </a:cubicBezTo>
                  <a:cubicBezTo>
                    <a:pt x="382429" y="11906"/>
                    <a:pt x="377666" y="9049"/>
                    <a:pt x="371951" y="7144"/>
                  </a:cubicBezTo>
                  <a:lnTo>
                    <a:pt x="371951" y="7144"/>
                  </a:lnTo>
                  <a:cubicBezTo>
                    <a:pt x="371951" y="7144"/>
                    <a:pt x="371951" y="7144"/>
                    <a:pt x="371951" y="7144"/>
                  </a:cubicBezTo>
                  <a:cubicBezTo>
                    <a:pt x="290036" y="105251"/>
                    <a:pt x="7144" y="178594"/>
                    <a:pt x="7144" y="383381"/>
                  </a:cubicBezTo>
                  <a:cubicBezTo>
                    <a:pt x="7144" y="463391"/>
                    <a:pt x="57626" y="538639"/>
                    <a:pt x="132874" y="569119"/>
                  </a:cubicBezTo>
                  <a:cubicBezTo>
                    <a:pt x="175736" y="585311"/>
                    <a:pt x="219551" y="586264"/>
                    <a:pt x="262414" y="571976"/>
                  </a:cubicBezTo>
                  <a:cubicBezTo>
                    <a:pt x="300514" y="559594"/>
                    <a:pt x="332899" y="535781"/>
                    <a:pt x="358616" y="506254"/>
                  </a:cubicBezTo>
                  <a:cubicBezTo>
                    <a:pt x="441484" y="413861"/>
                    <a:pt x="475774" y="271939"/>
                    <a:pt x="577692" y="271939"/>
                  </a:cubicBezTo>
                  <a:cubicBezTo>
                    <a:pt x="671036" y="271939"/>
                    <a:pt x="683419" y="338614"/>
                    <a:pt x="690086" y="374809"/>
                  </a:cubicBezTo>
                  <a:cubicBezTo>
                    <a:pt x="689134" y="373856"/>
                    <a:pt x="689134" y="371951"/>
                    <a:pt x="689134" y="36814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582938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b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3A966515-C64B-E7BB-1198-D99D16DE65B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1916832"/>
            <a:ext cx="3816424" cy="4941168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Insert Picture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C410B-B58E-46DB-B5F0-7F515E223D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368" y="3341212"/>
            <a:ext cx="4597606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Optional: Click to insert name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A6C182ED-7FBB-D436-05D8-96E184F17B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68" y="2924944"/>
            <a:ext cx="4597606" cy="246221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6ABBE1C-3373-50D9-4152-CA1AC4A5E7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368" y="537237"/>
            <a:ext cx="4597606" cy="2243691"/>
          </a:xfrm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3" name="Graphic 4">
            <a:extLst>
              <a:ext uri="{FF2B5EF4-FFF2-40B4-BE49-F238E27FC236}">
                <a16:creationId xmlns:a16="http://schemas.microsoft.com/office/drawing/2014/main" id="{4387E66E-794B-FAA5-865B-D9EA22999C1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368" y="6000692"/>
            <a:ext cx="2988000" cy="458780"/>
            <a:chOff x="3176111" y="1257136"/>
            <a:chExt cx="5719756" cy="878207"/>
          </a:xfrm>
        </p:grpSpPr>
        <p:sp>
          <p:nvSpPr>
            <p:cNvPr id="4" name="Freeform: Shape 2">
              <a:extLst>
                <a:ext uri="{FF2B5EF4-FFF2-40B4-BE49-F238E27FC236}">
                  <a16:creationId xmlns:a16="http://schemas.microsoft.com/office/drawing/2014/main" id="{03A6C384-CA67-87DD-C775-A4F9769BD3E2}"/>
                </a:ext>
              </a:extLst>
            </p:cNvPr>
            <p:cNvSpPr/>
            <p:nvPr/>
          </p:nvSpPr>
          <p:spPr>
            <a:xfrm>
              <a:off x="8667268" y="1360960"/>
              <a:ext cx="228599" cy="485775"/>
            </a:xfrm>
            <a:custGeom>
              <a:avLst/>
              <a:gdLst>
                <a:gd name="connsiteX0" fmla="*/ 43339 w 228600"/>
                <a:gd name="connsiteY0" fmla="*/ 14764 h 485775"/>
                <a:gd name="connsiteX1" fmla="*/ 90011 w 228600"/>
                <a:gd name="connsiteY1" fmla="*/ 7144 h 485775"/>
                <a:gd name="connsiteX2" fmla="*/ 90011 w 228600"/>
                <a:gd name="connsiteY2" fmla="*/ 118586 h 485775"/>
                <a:gd name="connsiteX3" fmla="*/ 217646 w 228600"/>
                <a:gd name="connsiteY3" fmla="*/ 118586 h 485775"/>
                <a:gd name="connsiteX4" fmla="*/ 217646 w 228600"/>
                <a:gd name="connsiteY4" fmla="*/ 148114 h 485775"/>
                <a:gd name="connsiteX5" fmla="*/ 180499 w 228600"/>
                <a:gd name="connsiteY5" fmla="*/ 185261 h 485775"/>
                <a:gd name="connsiteX6" fmla="*/ 90011 w 228600"/>
                <a:gd name="connsiteY6" fmla="*/ 185261 h 485775"/>
                <a:gd name="connsiteX7" fmla="*/ 90011 w 228600"/>
                <a:gd name="connsiteY7" fmla="*/ 330994 h 485775"/>
                <a:gd name="connsiteX8" fmla="*/ 103346 w 228600"/>
                <a:gd name="connsiteY8" fmla="*/ 392906 h 485775"/>
                <a:gd name="connsiteX9" fmla="*/ 150019 w 228600"/>
                <a:gd name="connsiteY9" fmla="*/ 411004 h 485775"/>
                <a:gd name="connsiteX10" fmla="*/ 190024 w 228600"/>
                <a:gd name="connsiteY10" fmla="*/ 406241 h 485775"/>
                <a:gd name="connsiteX11" fmla="*/ 217646 w 228600"/>
                <a:gd name="connsiteY11" fmla="*/ 397669 h 485775"/>
                <a:gd name="connsiteX12" fmla="*/ 226219 w 228600"/>
                <a:gd name="connsiteY12" fmla="*/ 438626 h 485775"/>
                <a:gd name="connsiteX13" fmla="*/ 205264 w 228600"/>
                <a:gd name="connsiteY13" fmla="*/ 472916 h 485775"/>
                <a:gd name="connsiteX14" fmla="*/ 193834 w 228600"/>
                <a:gd name="connsiteY14" fmla="*/ 475774 h 485775"/>
                <a:gd name="connsiteX15" fmla="*/ 138589 w 228600"/>
                <a:gd name="connsiteY15" fmla="*/ 482441 h 485775"/>
                <a:gd name="connsiteX16" fmla="*/ 74771 w 228600"/>
                <a:gd name="connsiteY16" fmla="*/ 471964 h 485775"/>
                <a:gd name="connsiteX17" fmla="*/ 33814 w 228600"/>
                <a:gd name="connsiteY17" fmla="*/ 442436 h 485775"/>
                <a:gd name="connsiteX18" fmla="*/ 12859 w 228600"/>
                <a:gd name="connsiteY18" fmla="*/ 394811 h 485775"/>
                <a:gd name="connsiteX19" fmla="*/ 7144 w 228600"/>
                <a:gd name="connsiteY19" fmla="*/ 330994 h 485775"/>
                <a:gd name="connsiteX20" fmla="*/ 7144 w 228600"/>
                <a:gd name="connsiteY20" fmla="*/ 56674 h 485775"/>
                <a:gd name="connsiteX21" fmla="*/ 43339 w 228600"/>
                <a:gd name="connsiteY21" fmla="*/ 14764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28600" h="485775">
                  <a:moveTo>
                    <a:pt x="43339" y="14764"/>
                  </a:moveTo>
                  <a:lnTo>
                    <a:pt x="90011" y="7144"/>
                  </a:lnTo>
                  <a:lnTo>
                    <a:pt x="90011" y="118586"/>
                  </a:lnTo>
                  <a:lnTo>
                    <a:pt x="217646" y="118586"/>
                  </a:lnTo>
                  <a:lnTo>
                    <a:pt x="217646" y="148114"/>
                  </a:lnTo>
                  <a:cubicBezTo>
                    <a:pt x="217646" y="168116"/>
                    <a:pt x="201453" y="185261"/>
                    <a:pt x="180499" y="185261"/>
                  </a:cubicBezTo>
                  <a:lnTo>
                    <a:pt x="90011" y="185261"/>
                  </a:lnTo>
                  <a:lnTo>
                    <a:pt x="90011" y="330994"/>
                  </a:lnTo>
                  <a:cubicBezTo>
                    <a:pt x="90011" y="359569"/>
                    <a:pt x="94774" y="380524"/>
                    <a:pt x="103346" y="392906"/>
                  </a:cubicBezTo>
                  <a:cubicBezTo>
                    <a:pt x="112871" y="405289"/>
                    <a:pt x="128111" y="411004"/>
                    <a:pt x="150019" y="411004"/>
                  </a:cubicBezTo>
                  <a:cubicBezTo>
                    <a:pt x="165259" y="411004"/>
                    <a:pt x="178594" y="409099"/>
                    <a:pt x="190024" y="406241"/>
                  </a:cubicBezTo>
                  <a:cubicBezTo>
                    <a:pt x="201453" y="403384"/>
                    <a:pt x="210978" y="400526"/>
                    <a:pt x="217646" y="397669"/>
                  </a:cubicBezTo>
                  <a:lnTo>
                    <a:pt x="226219" y="438626"/>
                  </a:lnTo>
                  <a:cubicBezTo>
                    <a:pt x="229076" y="453866"/>
                    <a:pt x="220503" y="469106"/>
                    <a:pt x="205264" y="472916"/>
                  </a:cubicBezTo>
                  <a:lnTo>
                    <a:pt x="193834" y="475774"/>
                  </a:lnTo>
                  <a:cubicBezTo>
                    <a:pt x="178594" y="480536"/>
                    <a:pt x="159544" y="482441"/>
                    <a:pt x="138589" y="482441"/>
                  </a:cubicBezTo>
                  <a:cubicBezTo>
                    <a:pt x="112871" y="482441"/>
                    <a:pt x="91916" y="478631"/>
                    <a:pt x="74771" y="471964"/>
                  </a:cubicBezTo>
                  <a:cubicBezTo>
                    <a:pt x="57626" y="465296"/>
                    <a:pt x="44291" y="454819"/>
                    <a:pt x="33814" y="442436"/>
                  </a:cubicBezTo>
                  <a:cubicBezTo>
                    <a:pt x="23336" y="429101"/>
                    <a:pt x="16669" y="413861"/>
                    <a:pt x="12859" y="394811"/>
                  </a:cubicBezTo>
                  <a:cubicBezTo>
                    <a:pt x="9049" y="376714"/>
                    <a:pt x="7144" y="354806"/>
                    <a:pt x="7144" y="330994"/>
                  </a:cubicBezTo>
                  <a:lnTo>
                    <a:pt x="7144" y="56674"/>
                  </a:lnTo>
                  <a:cubicBezTo>
                    <a:pt x="7144" y="36671"/>
                    <a:pt x="22384" y="18574"/>
                    <a:pt x="43339" y="14764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5" name="Freeform: Shape 3">
              <a:extLst>
                <a:ext uri="{FF2B5EF4-FFF2-40B4-BE49-F238E27FC236}">
                  <a16:creationId xmlns:a16="http://schemas.microsoft.com/office/drawing/2014/main" id="{D9DB5D20-16E1-D92B-7D16-DD8BCB7FA621}"/>
                </a:ext>
              </a:extLst>
            </p:cNvPr>
            <p:cNvSpPr/>
            <p:nvPr/>
          </p:nvSpPr>
          <p:spPr>
            <a:xfrm>
              <a:off x="7972896" y="1460972"/>
              <a:ext cx="333375" cy="381000"/>
            </a:xfrm>
            <a:custGeom>
              <a:avLst/>
              <a:gdLst>
                <a:gd name="connsiteX0" fmla="*/ 7144 w 333375"/>
                <a:gd name="connsiteY0" fmla="*/ 196691 h 381000"/>
                <a:gd name="connsiteX1" fmla="*/ 21431 w 333375"/>
                <a:gd name="connsiteY1" fmla="*/ 113824 h 381000"/>
                <a:gd name="connsiteX2" fmla="*/ 58579 w 333375"/>
                <a:gd name="connsiteY2" fmla="*/ 54769 h 381000"/>
                <a:gd name="connsiteX3" fmla="*/ 111919 w 333375"/>
                <a:gd name="connsiteY3" fmla="*/ 19526 h 381000"/>
                <a:gd name="connsiteX4" fmla="*/ 173831 w 333375"/>
                <a:gd name="connsiteY4" fmla="*/ 7144 h 381000"/>
                <a:gd name="connsiteX5" fmla="*/ 289084 w 333375"/>
                <a:gd name="connsiteY5" fmla="*/ 52864 h 381000"/>
                <a:gd name="connsiteX6" fmla="*/ 330041 w 333375"/>
                <a:gd name="connsiteY6" fmla="*/ 189071 h 381000"/>
                <a:gd name="connsiteX7" fmla="*/ 330041 w 333375"/>
                <a:gd name="connsiteY7" fmla="*/ 204311 h 381000"/>
                <a:gd name="connsiteX8" fmla="*/ 329089 w 333375"/>
                <a:gd name="connsiteY8" fmla="*/ 219551 h 381000"/>
                <a:gd name="connsiteX9" fmla="*/ 93822 w 333375"/>
                <a:gd name="connsiteY9" fmla="*/ 219551 h 381000"/>
                <a:gd name="connsiteX10" fmla="*/ 124301 w 333375"/>
                <a:gd name="connsiteY10" fmla="*/ 286226 h 381000"/>
                <a:gd name="connsiteX11" fmla="*/ 202406 w 333375"/>
                <a:gd name="connsiteY11" fmla="*/ 310039 h 381000"/>
                <a:gd name="connsiteX12" fmla="*/ 257651 w 333375"/>
                <a:gd name="connsiteY12" fmla="*/ 304324 h 381000"/>
                <a:gd name="connsiteX13" fmla="*/ 269081 w 333375"/>
                <a:gd name="connsiteY13" fmla="*/ 301466 h 381000"/>
                <a:gd name="connsiteX14" fmla="*/ 301466 w 333375"/>
                <a:gd name="connsiteY14" fmla="*/ 323374 h 381000"/>
                <a:gd name="connsiteX15" fmla="*/ 307181 w 333375"/>
                <a:gd name="connsiteY15" fmla="*/ 360521 h 381000"/>
                <a:gd name="connsiteX16" fmla="*/ 288131 w 333375"/>
                <a:gd name="connsiteY16" fmla="*/ 368141 h 381000"/>
                <a:gd name="connsiteX17" fmla="*/ 260509 w 333375"/>
                <a:gd name="connsiteY17" fmla="*/ 374809 h 381000"/>
                <a:gd name="connsiteX18" fmla="*/ 227172 w 333375"/>
                <a:gd name="connsiteY18" fmla="*/ 379571 h 381000"/>
                <a:gd name="connsiteX19" fmla="*/ 190976 w 333375"/>
                <a:gd name="connsiteY19" fmla="*/ 381476 h 381000"/>
                <a:gd name="connsiteX20" fmla="*/ 109061 w 333375"/>
                <a:gd name="connsiteY20" fmla="*/ 367189 h 381000"/>
                <a:gd name="connsiteX21" fmla="*/ 51911 w 333375"/>
                <a:gd name="connsiteY21" fmla="*/ 328136 h 381000"/>
                <a:gd name="connsiteX22" fmla="*/ 18574 w 333375"/>
                <a:gd name="connsiteY22" fmla="*/ 269081 h 381000"/>
                <a:gd name="connsiteX23" fmla="*/ 7144 w 333375"/>
                <a:gd name="connsiteY23" fmla="*/ 196691 h 381000"/>
                <a:gd name="connsiteX24" fmla="*/ 246222 w 333375"/>
                <a:gd name="connsiteY24" fmla="*/ 159544 h 381000"/>
                <a:gd name="connsiteX25" fmla="*/ 241459 w 333375"/>
                <a:gd name="connsiteY25" fmla="*/ 127159 h 381000"/>
                <a:gd name="connsiteX26" fmla="*/ 227172 w 333375"/>
                <a:gd name="connsiteY26" fmla="*/ 100489 h 381000"/>
                <a:gd name="connsiteX27" fmla="*/ 204311 w 333375"/>
                <a:gd name="connsiteY27" fmla="*/ 82391 h 381000"/>
                <a:gd name="connsiteX28" fmla="*/ 172879 w 333375"/>
                <a:gd name="connsiteY28" fmla="*/ 75724 h 381000"/>
                <a:gd name="connsiteX29" fmla="*/ 139541 w 333375"/>
                <a:gd name="connsiteY29" fmla="*/ 83344 h 381000"/>
                <a:gd name="connsiteX30" fmla="*/ 115729 w 333375"/>
                <a:gd name="connsiteY30" fmla="*/ 102394 h 381000"/>
                <a:gd name="connsiteX31" fmla="*/ 100489 w 333375"/>
                <a:gd name="connsiteY31" fmla="*/ 129064 h 381000"/>
                <a:gd name="connsiteX32" fmla="*/ 92869 w 333375"/>
                <a:gd name="connsiteY32" fmla="*/ 159544 h 381000"/>
                <a:gd name="connsiteX33" fmla="*/ 246222 w 333375"/>
                <a:gd name="connsiteY33" fmla="*/ 159544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33375" h="381000">
                  <a:moveTo>
                    <a:pt x="7144" y="196691"/>
                  </a:moveTo>
                  <a:cubicBezTo>
                    <a:pt x="7144" y="165259"/>
                    <a:pt x="11906" y="137636"/>
                    <a:pt x="21431" y="113824"/>
                  </a:cubicBezTo>
                  <a:cubicBezTo>
                    <a:pt x="30956" y="90011"/>
                    <a:pt x="43339" y="70009"/>
                    <a:pt x="58579" y="54769"/>
                  </a:cubicBezTo>
                  <a:cubicBezTo>
                    <a:pt x="73819" y="38576"/>
                    <a:pt x="91916" y="27146"/>
                    <a:pt x="111919" y="19526"/>
                  </a:cubicBezTo>
                  <a:cubicBezTo>
                    <a:pt x="131922" y="11906"/>
                    <a:pt x="152876" y="7144"/>
                    <a:pt x="173831" y="7144"/>
                  </a:cubicBezTo>
                  <a:cubicBezTo>
                    <a:pt x="223361" y="7144"/>
                    <a:pt x="261461" y="22384"/>
                    <a:pt x="289084" y="52864"/>
                  </a:cubicBezTo>
                  <a:cubicBezTo>
                    <a:pt x="316706" y="83344"/>
                    <a:pt x="330041" y="129064"/>
                    <a:pt x="330041" y="189071"/>
                  </a:cubicBezTo>
                  <a:cubicBezTo>
                    <a:pt x="330041" y="193834"/>
                    <a:pt x="330041" y="198596"/>
                    <a:pt x="330041" y="204311"/>
                  </a:cubicBezTo>
                  <a:cubicBezTo>
                    <a:pt x="330041" y="210026"/>
                    <a:pt x="329089" y="214789"/>
                    <a:pt x="329089" y="219551"/>
                  </a:cubicBezTo>
                  <a:lnTo>
                    <a:pt x="93822" y="219551"/>
                  </a:lnTo>
                  <a:cubicBezTo>
                    <a:pt x="95726" y="248126"/>
                    <a:pt x="106204" y="270034"/>
                    <a:pt x="124301" y="286226"/>
                  </a:cubicBezTo>
                  <a:cubicBezTo>
                    <a:pt x="142399" y="301466"/>
                    <a:pt x="168116" y="310039"/>
                    <a:pt x="202406" y="310039"/>
                  </a:cubicBezTo>
                  <a:cubicBezTo>
                    <a:pt x="222409" y="310039"/>
                    <a:pt x="240506" y="308134"/>
                    <a:pt x="257651" y="304324"/>
                  </a:cubicBezTo>
                  <a:cubicBezTo>
                    <a:pt x="261461" y="303371"/>
                    <a:pt x="266224" y="302419"/>
                    <a:pt x="269081" y="301466"/>
                  </a:cubicBezTo>
                  <a:cubicBezTo>
                    <a:pt x="284322" y="297656"/>
                    <a:pt x="298609" y="308134"/>
                    <a:pt x="301466" y="323374"/>
                  </a:cubicBezTo>
                  <a:lnTo>
                    <a:pt x="307181" y="360521"/>
                  </a:lnTo>
                  <a:cubicBezTo>
                    <a:pt x="302419" y="362426"/>
                    <a:pt x="296704" y="365284"/>
                    <a:pt x="288131" y="368141"/>
                  </a:cubicBezTo>
                  <a:cubicBezTo>
                    <a:pt x="280511" y="370999"/>
                    <a:pt x="270986" y="372904"/>
                    <a:pt x="260509" y="374809"/>
                  </a:cubicBezTo>
                  <a:cubicBezTo>
                    <a:pt x="250031" y="376714"/>
                    <a:pt x="239554" y="378619"/>
                    <a:pt x="227172" y="379571"/>
                  </a:cubicBezTo>
                  <a:cubicBezTo>
                    <a:pt x="214789" y="380524"/>
                    <a:pt x="203359" y="381476"/>
                    <a:pt x="190976" y="381476"/>
                  </a:cubicBezTo>
                  <a:cubicBezTo>
                    <a:pt x="159544" y="381476"/>
                    <a:pt x="131922" y="376714"/>
                    <a:pt x="109061" y="367189"/>
                  </a:cubicBezTo>
                  <a:cubicBezTo>
                    <a:pt x="86201" y="357664"/>
                    <a:pt x="67151" y="345281"/>
                    <a:pt x="51911" y="328136"/>
                  </a:cubicBezTo>
                  <a:cubicBezTo>
                    <a:pt x="36672" y="311944"/>
                    <a:pt x="26194" y="291941"/>
                    <a:pt x="18574" y="269081"/>
                  </a:cubicBezTo>
                  <a:cubicBezTo>
                    <a:pt x="10954" y="248126"/>
                    <a:pt x="7144" y="223361"/>
                    <a:pt x="7144" y="196691"/>
                  </a:cubicBezTo>
                  <a:close/>
                  <a:moveTo>
                    <a:pt x="246222" y="159544"/>
                  </a:moveTo>
                  <a:cubicBezTo>
                    <a:pt x="246222" y="148114"/>
                    <a:pt x="244316" y="137636"/>
                    <a:pt x="241459" y="127159"/>
                  </a:cubicBezTo>
                  <a:cubicBezTo>
                    <a:pt x="238601" y="116681"/>
                    <a:pt x="233839" y="108109"/>
                    <a:pt x="227172" y="100489"/>
                  </a:cubicBezTo>
                  <a:cubicBezTo>
                    <a:pt x="221456" y="92869"/>
                    <a:pt x="213836" y="87154"/>
                    <a:pt x="204311" y="82391"/>
                  </a:cubicBezTo>
                  <a:cubicBezTo>
                    <a:pt x="195739" y="77629"/>
                    <a:pt x="185261" y="75724"/>
                    <a:pt x="172879" y="75724"/>
                  </a:cubicBezTo>
                  <a:cubicBezTo>
                    <a:pt x="160497" y="75724"/>
                    <a:pt x="149066" y="78581"/>
                    <a:pt x="139541" y="83344"/>
                  </a:cubicBezTo>
                  <a:cubicBezTo>
                    <a:pt x="130016" y="88106"/>
                    <a:pt x="121444" y="94774"/>
                    <a:pt x="115729" y="102394"/>
                  </a:cubicBezTo>
                  <a:cubicBezTo>
                    <a:pt x="110014" y="110014"/>
                    <a:pt x="104299" y="118586"/>
                    <a:pt x="100489" y="129064"/>
                  </a:cubicBezTo>
                  <a:cubicBezTo>
                    <a:pt x="96679" y="139541"/>
                    <a:pt x="94774" y="149066"/>
                    <a:pt x="92869" y="159544"/>
                  </a:cubicBezTo>
                  <a:lnTo>
                    <a:pt x="246222" y="159544"/>
                  </a:ln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4" name="Freeform: Shape 4">
              <a:extLst>
                <a:ext uri="{FF2B5EF4-FFF2-40B4-BE49-F238E27FC236}">
                  <a16:creationId xmlns:a16="http://schemas.microsoft.com/office/drawing/2014/main" id="{099EE2ED-2590-71CA-9272-8478C120B414}"/>
                </a:ext>
              </a:extLst>
            </p:cNvPr>
            <p:cNvSpPr/>
            <p:nvPr/>
          </p:nvSpPr>
          <p:spPr>
            <a:xfrm>
              <a:off x="7182323" y="1317145"/>
              <a:ext cx="114301" cy="114301"/>
            </a:xfrm>
            <a:custGeom>
              <a:avLst/>
              <a:gdLst>
                <a:gd name="connsiteX0" fmla="*/ 109061 w 114300"/>
                <a:gd name="connsiteY0" fmla="*/ 58579 h 114300"/>
                <a:gd name="connsiteX1" fmla="*/ 93821 w 114300"/>
                <a:gd name="connsiteY1" fmla="*/ 95726 h 114300"/>
                <a:gd name="connsiteX2" fmla="*/ 58579 w 114300"/>
                <a:gd name="connsiteY2" fmla="*/ 109061 h 114300"/>
                <a:gd name="connsiteX3" fmla="*/ 22384 w 114300"/>
                <a:gd name="connsiteY3" fmla="*/ 95726 h 114300"/>
                <a:gd name="connsiteX4" fmla="*/ 7144 w 114300"/>
                <a:gd name="connsiteY4" fmla="*/ 58579 h 114300"/>
                <a:gd name="connsiteX5" fmla="*/ 22384 w 114300"/>
                <a:gd name="connsiteY5" fmla="*/ 20479 h 114300"/>
                <a:gd name="connsiteX6" fmla="*/ 58579 w 114300"/>
                <a:gd name="connsiteY6" fmla="*/ 7144 h 114300"/>
                <a:gd name="connsiteX7" fmla="*/ 93821 w 114300"/>
                <a:gd name="connsiteY7" fmla="*/ 20479 h 114300"/>
                <a:gd name="connsiteX8" fmla="*/ 109061 w 114300"/>
                <a:gd name="connsiteY8" fmla="*/ 58579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9061" y="58579"/>
                  </a:moveTo>
                  <a:cubicBezTo>
                    <a:pt x="109061" y="73819"/>
                    <a:pt x="104299" y="86201"/>
                    <a:pt x="93821" y="95726"/>
                  </a:cubicBezTo>
                  <a:cubicBezTo>
                    <a:pt x="83344" y="105251"/>
                    <a:pt x="71914" y="109061"/>
                    <a:pt x="58579" y="109061"/>
                  </a:cubicBezTo>
                  <a:cubicBezTo>
                    <a:pt x="44291" y="109061"/>
                    <a:pt x="31909" y="104299"/>
                    <a:pt x="22384" y="95726"/>
                  </a:cubicBezTo>
                  <a:cubicBezTo>
                    <a:pt x="11906" y="86201"/>
                    <a:pt x="7144" y="73819"/>
                    <a:pt x="7144" y="58579"/>
                  </a:cubicBezTo>
                  <a:cubicBezTo>
                    <a:pt x="7144" y="42386"/>
                    <a:pt x="11906" y="30004"/>
                    <a:pt x="22384" y="20479"/>
                  </a:cubicBezTo>
                  <a:cubicBezTo>
                    <a:pt x="32861" y="10954"/>
                    <a:pt x="44291" y="7144"/>
                    <a:pt x="58579" y="7144"/>
                  </a:cubicBezTo>
                  <a:cubicBezTo>
                    <a:pt x="71914" y="7144"/>
                    <a:pt x="84296" y="11906"/>
                    <a:pt x="93821" y="20479"/>
                  </a:cubicBezTo>
                  <a:cubicBezTo>
                    <a:pt x="104299" y="30004"/>
                    <a:pt x="109061" y="43339"/>
                    <a:pt x="109061" y="5857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5" name="Freeform: Shape 5">
              <a:extLst>
                <a:ext uri="{FF2B5EF4-FFF2-40B4-BE49-F238E27FC236}">
                  <a16:creationId xmlns:a16="http://schemas.microsoft.com/office/drawing/2014/main" id="{955CE019-CDB5-8EE1-B086-0F07EA728E46}"/>
                </a:ext>
              </a:extLst>
            </p:cNvPr>
            <p:cNvSpPr/>
            <p:nvPr/>
          </p:nvSpPr>
          <p:spPr>
            <a:xfrm>
              <a:off x="7192800" y="1473355"/>
              <a:ext cx="95250" cy="371475"/>
            </a:xfrm>
            <a:custGeom>
              <a:avLst/>
              <a:gdLst>
                <a:gd name="connsiteX0" fmla="*/ 90011 w 95250"/>
                <a:gd name="connsiteY0" fmla="*/ 366236 h 371475"/>
                <a:gd name="connsiteX1" fmla="*/ 67151 w 95250"/>
                <a:gd name="connsiteY1" fmla="*/ 366236 h 371475"/>
                <a:gd name="connsiteX2" fmla="*/ 7144 w 95250"/>
                <a:gd name="connsiteY2" fmla="*/ 306229 h 371475"/>
                <a:gd name="connsiteX3" fmla="*/ 7144 w 95250"/>
                <a:gd name="connsiteY3" fmla="*/ 7144 h 371475"/>
                <a:gd name="connsiteX4" fmla="*/ 35719 w 95250"/>
                <a:gd name="connsiteY4" fmla="*/ 7144 h 371475"/>
                <a:gd name="connsiteX5" fmla="*/ 90011 w 95250"/>
                <a:gd name="connsiteY5" fmla="*/ 62389 h 371475"/>
                <a:gd name="connsiteX6" fmla="*/ 90011 w 95250"/>
                <a:gd name="connsiteY6" fmla="*/ 366236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250" h="371475">
                  <a:moveTo>
                    <a:pt x="90011" y="366236"/>
                  </a:moveTo>
                  <a:lnTo>
                    <a:pt x="67151" y="366236"/>
                  </a:lnTo>
                  <a:cubicBezTo>
                    <a:pt x="33814" y="366236"/>
                    <a:pt x="7144" y="339566"/>
                    <a:pt x="7144" y="306229"/>
                  </a:cubicBezTo>
                  <a:lnTo>
                    <a:pt x="7144" y="7144"/>
                  </a:lnTo>
                  <a:lnTo>
                    <a:pt x="35719" y="7144"/>
                  </a:lnTo>
                  <a:cubicBezTo>
                    <a:pt x="66199" y="7144"/>
                    <a:pt x="90011" y="31909"/>
                    <a:pt x="90011" y="62389"/>
                  </a:cubicBezTo>
                  <a:lnTo>
                    <a:pt x="90011" y="366236"/>
                  </a:ln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6" name="Freeform: Shape 6">
              <a:extLst>
                <a:ext uri="{FF2B5EF4-FFF2-40B4-BE49-F238E27FC236}">
                  <a16:creationId xmlns:a16="http://schemas.microsoft.com/office/drawing/2014/main" id="{92AF646D-A332-B48F-B299-F95488BD1089}"/>
                </a:ext>
              </a:extLst>
            </p:cNvPr>
            <p:cNvSpPr/>
            <p:nvPr/>
          </p:nvSpPr>
          <p:spPr>
            <a:xfrm>
              <a:off x="7637617" y="1474308"/>
              <a:ext cx="352426" cy="371475"/>
            </a:xfrm>
            <a:custGeom>
              <a:avLst/>
              <a:gdLst>
                <a:gd name="connsiteX0" fmla="*/ 287179 w 352425"/>
                <a:gd name="connsiteY0" fmla="*/ 7144 h 371475"/>
                <a:gd name="connsiteX1" fmla="*/ 250031 w 352425"/>
                <a:gd name="connsiteY1" fmla="*/ 43339 h 371475"/>
                <a:gd name="connsiteX2" fmla="*/ 179547 w 352425"/>
                <a:gd name="connsiteY2" fmla="*/ 246221 h 371475"/>
                <a:gd name="connsiteX3" fmla="*/ 106204 w 352425"/>
                <a:gd name="connsiteY3" fmla="*/ 47149 h 371475"/>
                <a:gd name="connsiteX4" fmla="*/ 68104 w 352425"/>
                <a:gd name="connsiteY4" fmla="*/ 7144 h 371475"/>
                <a:gd name="connsiteX5" fmla="*/ 27147 w 352425"/>
                <a:gd name="connsiteY5" fmla="*/ 7144 h 371475"/>
                <a:gd name="connsiteX6" fmla="*/ 7144 w 352425"/>
                <a:gd name="connsiteY6" fmla="*/ 7144 h 371475"/>
                <a:gd name="connsiteX7" fmla="*/ 130969 w 352425"/>
                <a:gd name="connsiteY7" fmla="*/ 329089 h 371475"/>
                <a:gd name="connsiteX8" fmla="*/ 171927 w 352425"/>
                <a:gd name="connsiteY8" fmla="*/ 365284 h 371475"/>
                <a:gd name="connsiteX9" fmla="*/ 213836 w 352425"/>
                <a:gd name="connsiteY9" fmla="*/ 365284 h 371475"/>
                <a:gd name="connsiteX10" fmla="*/ 350044 w 352425"/>
                <a:gd name="connsiteY10" fmla="*/ 7144 h 371475"/>
                <a:gd name="connsiteX11" fmla="*/ 287179 w 352425"/>
                <a:gd name="connsiteY11" fmla="*/ 7144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52425" h="371475">
                  <a:moveTo>
                    <a:pt x="287179" y="7144"/>
                  </a:moveTo>
                  <a:cubicBezTo>
                    <a:pt x="265272" y="7144"/>
                    <a:pt x="259556" y="18574"/>
                    <a:pt x="250031" y="43339"/>
                  </a:cubicBezTo>
                  <a:lnTo>
                    <a:pt x="179547" y="246221"/>
                  </a:lnTo>
                  <a:lnTo>
                    <a:pt x="106204" y="47149"/>
                  </a:lnTo>
                  <a:cubicBezTo>
                    <a:pt x="97631" y="21431"/>
                    <a:pt x="90011" y="7144"/>
                    <a:pt x="68104" y="7144"/>
                  </a:cubicBezTo>
                  <a:lnTo>
                    <a:pt x="27147" y="7144"/>
                  </a:lnTo>
                  <a:lnTo>
                    <a:pt x="7144" y="7144"/>
                  </a:lnTo>
                  <a:lnTo>
                    <a:pt x="130969" y="329089"/>
                  </a:lnTo>
                  <a:cubicBezTo>
                    <a:pt x="142399" y="352901"/>
                    <a:pt x="150019" y="365284"/>
                    <a:pt x="171927" y="365284"/>
                  </a:cubicBezTo>
                  <a:lnTo>
                    <a:pt x="213836" y="365284"/>
                  </a:lnTo>
                  <a:lnTo>
                    <a:pt x="350044" y="7144"/>
                  </a:lnTo>
                  <a:lnTo>
                    <a:pt x="287179" y="7144"/>
                  </a:ln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7" name="Freeform: Shape 7">
              <a:extLst>
                <a:ext uri="{FF2B5EF4-FFF2-40B4-BE49-F238E27FC236}">
                  <a16:creationId xmlns:a16="http://schemas.microsoft.com/office/drawing/2014/main" id="{F2C5F4B1-7EF9-15F4-FA3F-3D1648BF2C80}"/>
                </a:ext>
              </a:extLst>
            </p:cNvPr>
            <p:cNvSpPr/>
            <p:nvPr/>
          </p:nvSpPr>
          <p:spPr>
            <a:xfrm>
              <a:off x="7326150" y="1464782"/>
              <a:ext cx="314325" cy="381000"/>
            </a:xfrm>
            <a:custGeom>
              <a:avLst/>
              <a:gdLst>
                <a:gd name="connsiteX0" fmla="*/ 300514 w 314325"/>
                <a:gd name="connsiteY0" fmla="*/ 105251 h 381000"/>
                <a:gd name="connsiteX1" fmla="*/ 275749 w 314325"/>
                <a:gd name="connsiteY1" fmla="*/ 52864 h 381000"/>
                <a:gd name="connsiteX2" fmla="*/ 229076 w 314325"/>
                <a:gd name="connsiteY2" fmla="*/ 19526 h 381000"/>
                <a:gd name="connsiteX3" fmla="*/ 155734 w 314325"/>
                <a:gd name="connsiteY3" fmla="*/ 7144 h 381000"/>
                <a:gd name="connsiteX4" fmla="*/ 70009 w 314325"/>
                <a:gd name="connsiteY4" fmla="*/ 13811 h 381000"/>
                <a:gd name="connsiteX5" fmla="*/ 7144 w 314325"/>
                <a:gd name="connsiteY5" fmla="*/ 27146 h 381000"/>
                <a:gd name="connsiteX6" fmla="*/ 7144 w 314325"/>
                <a:gd name="connsiteY6" fmla="*/ 329089 h 381000"/>
                <a:gd name="connsiteX7" fmla="*/ 7144 w 314325"/>
                <a:gd name="connsiteY7" fmla="*/ 329089 h 381000"/>
                <a:gd name="connsiteX8" fmla="*/ 7144 w 314325"/>
                <a:gd name="connsiteY8" fmla="*/ 338614 h 381000"/>
                <a:gd name="connsiteX9" fmla="*/ 44291 w 314325"/>
                <a:gd name="connsiteY9" fmla="*/ 375761 h 381000"/>
                <a:gd name="connsiteX10" fmla="*/ 45244 w 314325"/>
                <a:gd name="connsiteY10" fmla="*/ 375761 h 381000"/>
                <a:gd name="connsiteX11" fmla="*/ 45244 w 314325"/>
                <a:gd name="connsiteY11" fmla="*/ 375761 h 381000"/>
                <a:gd name="connsiteX12" fmla="*/ 90964 w 314325"/>
                <a:gd name="connsiteY12" fmla="*/ 375761 h 381000"/>
                <a:gd name="connsiteX13" fmla="*/ 90964 w 314325"/>
                <a:gd name="connsiteY13" fmla="*/ 84296 h 381000"/>
                <a:gd name="connsiteX14" fmla="*/ 116682 w 314325"/>
                <a:gd name="connsiteY14" fmla="*/ 80486 h 381000"/>
                <a:gd name="connsiteX15" fmla="*/ 150019 w 314325"/>
                <a:gd name="connsiteY15" fmla="*/ 78581 h 381000"/>
                <a:gd name="connsiteX16" fmla="*/ 186214 w 314325"/>
                <a:gd name="connsiteY16" fmla="*/ 84296 h 381000"/>
                <a:gd name="connsiteX17" fmla="*/ 210026 w 314325"/>
                <a:gd name="connsiteY17" fmla="*/ 102394 h 381000"/>
                <a:gd name="connsiteX18" fmla="*/ 222409 w 314325"/>
                <a:gd name="connsiteY18" fmla="*/ 135731 h 381000"/>
                <a:gd name="connsiteX19" fmla="*/ 226219 w 314325"/>
                <a:gd name="connsiteY19" fmla="*/ 185261 h 381000"/>
                <a:gd name="connsiteX20" fmla="*/ 226219 w 314325"/>
                <a:gd name="connsiteY20" fmla="*/ 328136 h 381000"/>
                <a:gd name="connsiteX21" fmla="*/ 226219 w 314325"/>
                <a:gd name="connsiteY21" fmla="*/ 328136 h 381000"/>
                <a:gd name="connsiteX22" fmla="*/ 226219 w 314325"/>
                <a:gd name="connsiteY22" fmla="*/ 337661 h 381000"/>
                <a:gd name="connsiteX23" fmla="*/ 263366 w 314325"/>
                <a:gd name="connsiteY23" fmla="*/ 374809 h 381000"/>
                <a:gd name="connsiteX24" fmla="*/ 263366 w 314325"/>
                <a:gd name="connsiteY24" fmla="*/ 374809 h 381000"/>
                <a:gd name="connsiteX25" fmla="*/ 310039 w 314325"/>
                <a:gd name="connsiteY25" fmla="*/ 374809 h 381000"/>
                <a:gd name="connsiteX26" fmla="*/ 310039 w 314325"/>
                <a:gd name="connsiteY26" fmla="*/ 172879 h 381000"/>
                <a:gd name="connsiteX27" fmla="*/ 300514 w 314325"/>
                <a:gd name="connsiteY27" fmla="*/ 105251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14325" h="381000">
                  <a:moveTo>
                    <a:pt x="300514" y="105251"/>
                  </a:moveTo>
                  <a:cubicBezTo>
                    <a:pt x="295751" y="85249"/>
                    <a:pt x="287179" y="67151"/>
                    <a:pt x="275749" y="52864"/>
                  </a:cubicBezTo>
                  <a:cubicBezTo>
                    <a:pt x="264319" y="38576"/>
                    <a:pt x="248126" y="27146"/>
                    <a:pt x="229076" y="19526"/>
                  </a:cubicBezTo>
                  <a:cubicBezTo>
                    <a:pt x="209074" y="11906"/>
                    <a:pt x="185261" y="7144"/>
                    <a:pt x="155734" y="7144"/>
                  </a:cubicBezTo>
                  <a:cubicBezTo>
                    <a:pt x="124301" y="7144"/>
                    <a:pt x="95726" y="9049"/>
                    <a:pt x="70009" y="13811"/>
                  </a:cubicBezTo>
                  <a:cubicBezTo>
                    <a:pt x="44291" y="17621"/>
                    <a:pt x="23336" y="22384"/>
                    <a:pt x="7144" y="27146"/>
                  </a:cubicBezTo>
                  <a:lnTo>
                    <a:pt x="7144" y="329089"/>
                  </a:lnTo>
                  <a:lnTo>
                    <a:pt x="7144" y="329089"/>
                  </a:lnTo>
                  <a:lnTo>
                    <a:pt x="7144" y="338614"/>
                  </a:lnTo>
                  <a:cubicBezTo>
                    <a:pt x="7144" y="358616"/>
                    <a:pt x="23336" y="375761"/>
                    <a:pt x="44291" y="375761"/>
                  </a:cubicBezTo>
                  <a:lnTo>
                    <a:pt x="45244" y="375761"/>
                  </a:lnTo>
                  <a:lnTo>
                    <a:pt x="45244" y="375761"/>
                  </a:lnTo>
                  <a:lnTo>
                    <a:pt x="90964" y="375761"/>
                  </a:lnTo>
                  <a:lnTo>
                    <a:pt x="90964" y="84296"/>
                  </a:lnTo>
                  <a:cubicBezTo>
                    <a:pt x="96679" y="83344"/>
                    <a:pt x="105251" y="82391"/>
                    <a:pt x="116682" y="80486"/>
                  </a:cubicBezTo>
                  <a:cubicBezTo>
                    <a:pt x="128111" y="79534"/>
                    <a:pt x="139541" y="78581"/>
                    <a:pt x="150019" y="78581"/>
                  </a:cubicBezTo>
                  <a:cubicBezTo>
                    <a:pt x="164307" y="78581"/>
                    <a:pt x="176689" y="80486"/>
                    <a:pt x="186214" y="84296"/>
                  </a:cubicBezTo>
                  <a:cubicBezTo>
                    <a:pt x="195739" y="88106"/>
                    <a:pt x="204311" y="94774"/>
                    <a:pt x="210026" y="102394"/>
                  </a:cubicBezTo>
                  <a:cubicBezTo>
                    <a:pt x="215741" y="110966"/>
                    <a:pt x="219551" y="121444"/>
                    <a:pt x="222409" y="135731"/>
                  </a:cubicBezTo>
                  <a:cubicBezTo>
                    <a:pt x="225266" y="149066"/>
                    <a:pt x="226219" y="165259"/>
                    <a:pt x="226219" y="185261"/>
                  </a:cubicBezTo>
                  <a:lnTo>
                    <a:pt x="226219" y="328136"/>
                  </a:lnTo>
                  <a:lnTo>
                    <a:pt x="226219" y="328136"/>
                  </a:lnTo>
                  <a:lnTo>
                    <a:pt x="226219" y="337661"/>
                  </a:lnTo>
                  <a:cubicBezTo>
                    <a:pt x="226219" y="357664"/>
                    <a:pt x="242411" y="374809"/>
                    <a:pt x="263366" y="374809"/>
                  </a:cubicBezTo>
                  <a:lnTo>
                    <a:pt x="263366" y="374809"/>
                  </a:lnTo>
                  <a:lnTo>
                    <a:pt x="310039" y="374809"/>
                  </a:lnTo>
                  <a:lnTo>
                    <a:pt x="310039" y="172879"/>
                  </a:lnTo>
                  <a:cubicBezTo>
                    <a:pt x="308134" y="148114"/>
                    <a:pt x="305276" y="126206"/>
                    <a:pt x="300514" y="1052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8" name="Freeform: Shape 8">
              <a:extLst>
                <a:ext uri="{FF2B5EF4-FFF2-40B4-BE49-F238E27FC236}">
                  <a16:creationId xmlns:a16="http://schemas.microsoft.com/office/drawing/2014/main" id="{3B3318F3-4D49-C098-964C-7109E11C1531}"/>
                </a:ext>
              </a:extLst>
            </p:cNvPr>
            <p:cNvSpPr/>
            <p:nvPr/>
          </p:nvSpPr>
          <p:spPr>
            <a:xfrm>
              <a:off x="8331989" y="1464782"/>
              <a:ext cx="314325" cy="381000"/>
            </a:xfrm>
            <a:custGeom>
              <a:avLst/>
              <a:gdLst>
                <a:gd name="connsiteX0" fmla="*/ 300514 w 314325"/>
                <a:gd name="connsiteY0" fmla="*/ 105251 h 381000"/>
                <a:gd name="connsiteX1" fmla="*/ 275749 w 314325"/>
                <a:gd name="connsiteY1" fmla="*/ 52864 h 381000"/>
                <a:gd name="connsiteX2" fmla="*/ 229076 w 314325"/>
                <a:gd name="connsiteY2" fmla="*/ 19526 h 381000"/>
                <a:gd name="connsiteX3" fmla="*/ 155734 w 314325"/>
                <a:gd name="connsiteY3" fmla="*/ 7144 h 381000"/>
                <a:gd name="connsiteX4" fmla="*/ 70009 w 314325"/>
                <a:gd name="connsiteY4" fmla="*/ 13811 h 381000"/>
                <a:gd name="connsiteX5" fmla="*/ 7144 w 314325"/>
                <a:gd name="connsiteY5" fmla="*/ 27146 h 381000"/>
                <a:gd name="connsiteX6" fmla="*/ 7144 w 314325"/>
                <a:gd name="connsiteY6" fmla="*/ 329089 h 381000"/>
                <a:gd name="connsiteX7" fmla="*/ 7144 w 314325"/>
                <a:gd name="connsiteY7" fmla="*/ 329089 h 381000"/>
                <a:gd name="connsiteX8" fmla="*/ 7144 w 314325"/>
                <a:gd name="connsiteY8" fmla="*/ 338614 h 381000"/>
                <a:gd name="connsiteX9" fmla="*/ 44291 w 314325"/>
                <a:gd name="connsiteY9" fmla="*/ 375761 h 381000"/>
                <a:gd name="connsiteX10" fmla="*/ 45244 w 314325"/>
                <a:gd name="connsiteY10" fmla="*/ 375761 h 381000"/>
                <a:gd name="connsiteX11" fmla="*/ 45244 w 314325"/>
                <a:gd name="connsiteY11" fmla="*/ 375761 h 381000"/>
                <a:gd name="connsiteX12" fmla="*/ 90964 w 314325"/>
                <a:gd name="connsiteY12" fmla="*/ 375761 h 381000"/>
                <a:gd name="connsiteX13" fmla="*/ 90964 w 314325"/>
                <a:gd name="connsiteY13" fmla="*/ 84296 h 381000"/>
                <a:gd name="connsiteX14" fmla="*/ 116681 w 314325"/>
                <a:gd name="connsiteY14" fmla="*/ 80486 h 381000"/>
                <a:gd name="connsiteX15" fmla="*/ 150019 w 314325"/>
                <a:gd name="connsiteY15" fmla="*/ 78581 h 381000"/>
                <a:gd name="connsiteX16" fmla="*/ 186214 w 314325"/>
                <a:gd name="connsiteY16" fmla="*/ 84296 h 381000"/>
                <a:gd name="connsiteX17" fmla="*/ 210026 w 314325"/>
                <a:gd name="connsiteY17" fmla="*/ 102394 h 381000"/>
                <a:gd name="connsiteX18" fmla="*/ 222409 w 314325"/>
                <a:gd name="connsiteY18" fmla="*/ 135731 h 381000"/>
                <a:gd name="connsiteX19" fmla="*/ 226219 w 314325"/>
                <a:gd name="connsiteY19" fmla="*/ 185261 h 381000"/>
                <a:gd name="connsiteX20" fmla="*/ 226219 w 314325"/>
                <a:gd name="connsiteY20" fmla="*/ 328136 h 381000"/>
                <a:gd name="connsiteX21" fmla="*/ 226219 w 314325"/>
                <a:gd name="connsiteY21" fmla="*/ 328136 h 381000"/>
                <a:gd name="connsiteX22" fmla="*/ 226219 w 314325"/>
                <a:gd name="connsiteY22" fmla="*/ 337661 h 381000"/>
                <a:gd name="connsiteX23" fmla="*/ 263366 w 314325"/>
                <a:gd name="connsiteY23" fmla="*/ 374809 h 381000"/>
                <a:gd name="connsiteX24" fmla="*/ 263366 w 314325"/>
                <a:gd name="connsiteY24" fmla="*/ 374809 h 381000"/>
                <a:gd name="connsiteX25" fmla="*/ 310039 w 314325"/>
                <a:gd name="connsiteY25" fmla="*/ 374809 h 381000"/>
                <a:gd name="connsiteX26" fmla="*/ 310039 w 314325"/>
                <a:gd name="connsiteY26" fmla="*/ 172879 h 381000"/>
                <a:gd name="connsiteX27" fmla="*/ 300514 w 314325"/>
                <a:gd name="connsiteY27" fmla="*/ 105251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14325" h="381000">
                  <a:moveTo>
                    <a:pt x="300514" y="105251"/>
                  </a:moveTo>
                  <a:cubicBezTo>
                    <a:pt x="295751" y="85249"/>
                    <a:pt x="287179" y="67151"/>
                    <a:pt x="275749" y="52864"/>
                  </a:cubicBezTo>
                  <a:cubicBezTo>
                    <a:pt x="264319" y="38576"/>
                    <a:pt x="248126" y="27146"/>
                    <a:pt x="229076" y="19526"/>
                  </a:cubicBezTo>
                  <a:cubicBezTo>
                    <a:pt x="209074" y="11906"/>
                    <a:pt x="185261" y="7144"/>
                    <a:pt x="155734" y="7144"/>
                  </a:cubicBezTo>
                  <a:cubicBezTo>
                    <a:pt x="124301" y="7144"/>
                    <a:pt x="95726" y="9049"/>
                    <a:pt x="70009" y="13811"/>
                  </a:cubicBezTo>
                  <a:cubicBezTo>
                    <a:pt x="44291" y="17621"/>
                    <a:pt x="23336" y="22384"/>
                    <a:pt x="7144" y="27146"/>
                  </a:cubicBezTo>
                  <a:lnTo>
                    <a:pt x="7144" y="329089"/>
                  </a:lnTo>
                  <a:lnTo>
                    <a:pt x="7144" y="329089"/>
                  </a:lnTo>
                  <a:lnTo>
                    <a:pt x="7144" y="338614"/>
                  </a:lnTo>
                  <a:cubicBezTo>
                    <a:pt x="7144" y="358616"/>
                    <a:pt x="23336" y="375761"/>
                    <a:pt x="44291" y="375761"/>
                  </a:cubicBezTo>
                  <a:lnTo>
                    <a:pt x="45244" y="375761"/>
                  </a:lnTo>
                  <a:lnTo>
                    <a:pt x="45244" y="375761"/>
                  </a:lnTo>
                  <a:lnTo>
                    <a:pt x="90964" y="375761"/>
                  </a:lnTo>
                  <a:lnTo>
                    <a:pt x="90964" y="84296"/>
                  </a:lnTo>
                  <a:cubicBezTo>
                    <a:pt x="96679" y="83344"/>
                    <a:pt x="105251" y="82391"/>
                    <a:pt x="116681" y="80486"/>
                  </a:cubicBezTo>
                  <a:cubicBezTo>
                    <a:pt x="128111" y="79534"/>
                    <a:pt x="139541" y="78581"/>
                    <a:pt x="150019" y="78581"/>
                  </a:cubicBezTo>
                  <a:cubicBezTo>
                    <a:pt x="164306" y="78581"/>
                    <a:pt x="176689" y="80486"/>
                    <a:pt x="186214" y="84296"/>
                  </a:cubicBezTo>
                  <a:cubicBezTo>
                    <a:pt x="195739" y="88106"/>
                    <a:pt x="204311" y="94774"/>
                    <a:pt x="210026" y="102394"/>
                  </a:cubicBezTo>
                  <a:cubicBezTo>
                    <a:pt x="215741" y="110966"/>
                    <a:pt x="219551" y="121444"/>
                    <a:pt x="222409" y="135731"/>
                  </a:cubicBezTo>
                  <a:cubicBezTo>
                    <a:pt x="225266" y="149066"/>
                    <a:pt x="226219" y="165259"/>
                    <a:pt x="226219" y="185261"/>
                  </a:cubicBezTo>
                  <a:lnTo>
                    <a:pt x="226219" y="328136"/>
                  </a:lnTo>
                  <a:lnTo>
                    <a:pt x="226219" y="328136"/>
                  </a:lnTo>
                  <a:lnTo>
                    <a:pt x="226219" y="337661"/>
                  </a:lnTo>
                  <a:cubicBezTo>
                    <a:pt x="226219" y="357664"/>
                    <a:pt x="242411" y="374809"/>
                    <a:pt x="263366" y="374809"/>
                  </a:cubicBezTo>
                  <a:lnTo>
                    <a:pt x="263366" y="374809"/>
                  </a:lnTo>
                  <a:lnTo>
                    <a:pt x="310039" y="374809"/>
                  </a:lnTo>
                  <a:lnTo>
                    <a:pt x="310039" y="172879"/>
                  </a:lnTo>
                  <a:cubicBezTo>
                    <a:pt x="307181" y="148114"/>
                    <a:pt x="305276" y="126206"/>
                    <a:pt x="300514" y="1052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0" name="Freeform: Shape 17">
              <a:extLst>
                <a:ext uri="{FF2B5EF4-FFF2-40B4-BE49-F238E27FC236}">
                  <a16:creationId xmlns:a16="http://schemas.microsoft.com/office/drawing/2014/main" id="{87345562-4F2E-AB28-62CF-309467EA12D4}"/>
                </a:ext>
              </a:extLst>
            </p:cNvPr>
            <p:cNvSpPr/>
            <p:nvPr/>
          </p:nvSpPr>
          <p:spPr>
            <a:xfrm>
              <a:off x="6619395" y="1521933"/>
              <a:ext cx="457199" cy="371475"/>
            </a:xfrm>
            <a:custGeom>
              <a:avLst/>
              <a:gdLst>
                <a:gd name="connsiteX0" fmla="*/ 304324 w 457200"/>
                <a:gd name="connsiteY0" fmla="*/ 261461 h 371475"/>
                <a:gd name="connsiteX1" fmla="*/ 456724 w 457200"/>
                <a:gd name="connsiteY1" fmla="*/ 110014 h 371475"/>
                <a:gd name="connsiteX2" fmla="*/ 344329 w 457200"/>
                <a:gd name="connsiteY2" fmla="*/ 7144 h 371475"/>
                <a:gd name="connsiteX3" fmla="*/ 125254 w 457200"/>
                <a:gd name="connsiteY3" fmla="*/ 241459 h 371475"/>
                <a:gd name="connsiteX4" fmla="*/ 7144 w 457200"/>
                <a:gd name="connsiteY4" fmla="*/ 348139 h 371475"/>
                <a:gd name="connsiteX5" fmla="*/ 96679 w 457200"/>
                <a:gd name="connsiteY5" fmla="*/ 372904 h 371475"/>
                <a:gd name="connsiteX6" fmla="*/ 306229 w 457200"/>
                <a:gd name="connsiteY6" fmla="*/ 304324 h 371475"/>
                <a:gd name="connsiteX7" fmla="*/ 200501 w 457200"/>
                <a:gd name="connsiteY7" fmla="*/ 210026 h 371475"/>
                <a:gd name="connsiteX8" fmla="*/ 304324 w 457200"/>
                <a:gd name="connsiteY8" fmla="*/ 26146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7200" h="371475">
                  <a:moveTo>
                    <a:pt x="304324" y="261461"/>
                  </a:moveTo>
                  <a:cubicBezTo>
                    <a:pt x="390049" y="261461"/>
                    <a:pt x="455771" y="191929"/>
                    <a:pt x="456724" y="110014"/>
                  </a:cubicBezTo>
                  <a:cubicBezTo>
                    <a:pt x="451009" y="73819"/>
                    <a:pt x="438626" y="7144"/>
                    <a:pt x="344329" y="7144"/>
                  </a:cubicBezTo>
                  <a:cubicBezTo>
                    <a:pt x="242411" y="7144"/>
                    <a:pt x="208121" y="150019"/>
                    <a:pt x="125254" y="241459"/>
                  </a:cubicBezTo>
                  <a:cubicBezTo>
                    <a:pt x="118586" y="293846"/>
                    <a:pt x="69056" y="340519"/>
                    <a:pt x="7144" y="348139"/>
                  </a:cubicBezTo>
                  <a:cubicBezTo>
                    <a:pt x="22384" y="364331"/>
                    <a:pt x="55721" y="372904"/>
                    <a:pt x="96679" y="372904"/>
                  </a:cubicBezTo>
                  <a:cubicBezTo>
                    <a:pt x="170021" y="372904"/>
                    <a:pt x="259556" y="350996"/>
                    <a:pt x="306229" y="304324"/>
                  </a:cubicBezTo>
                  <a:cubicBezTo>
                    <a:pt x="244316" y="305276"/>
                    <a:pt x="204311" y="265271"/>
                    <a:pt x="200501" y="210026"/>
                  </a:cubicBezTo>
                  <a:cubicBezTo>
                    <a:pt x="230029" y="247174"/>
                    <a:pt x="264319" y="261461"/>
                    <a:pt x="304324" y="261461"/>
                  </a:cubicBezTo>
                  <a:close/>
                </a:path>
              </a:pathLst>
            </a:custGeom>
            <a:solidFill>
              <a:srgbClr val="17ABDB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1" name="Freeform: Shape 22">
              <a:extLst>
                <a:ext uri="{FF2B5EF4-FFF2-40B4-BE49-F238E27FC236}">
                  <a16:creationId xmlns:a16="http://schemas.microsoft.com/office/drawing/2014/main" id="{0C9C4C9B-E9B9-BAFB-1E5E-08924E144432}"/>
                </a:ext>
              </a:extLst>
            </p:cNvPr>
            <p:cNvSpPr/>
            <p:nvPr/>
          </p:nvSpPr>
          <p:spPr>
            <a:xfrm>
              <a:off x="3176111" y="1268567"/>
              <a:ext cx="3171823" cy="866776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2" name="Freeform: Shape 23">
              <a:extLst>
                <a:ext uri="{FF2B5EF4-FFF2-40B4-BE49-F238E27FC236}">
                  <a16:creationId xmlns:a16="http://schemas.microsoft.com/office/drawing/2014/main" id="{6CFDD13C-8D49-9B78-25BB-1AAB2725E56D}"/>
                </a:ext>
              </a:extLst>
            </p:cNvPr>
            <p:cNvSpPr/>
            <p:nvPr/>
          </p:nvSpPr>
          <p:spPr>
            <a:xfrm>
              <a:off x="5565899" y="1311398"/>
              <a:ext cx="95250" cy="104775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3" name="Freeform: Shape 24">
              <a:extLst>
                <a:ext uri="{FF2B5EF4-FFF2-40B4-BE49-F238E27FC236}">
                  <a16:creationId xmlns:a16="http://schemas.microsoft.com/office/drawing/2014/main" id="{56D58439-F355-85B0-36B8-D1C230C67F5E}"/>
                </a:ext>
              </a:extLst>
            </p:cNvPr>
            <p:cNvSpPr/>
            <p:nvPr/>
          </p:nvSpPr>
          <p:spPr>
            <a:xfrm>
              <a:off x="6186959" y="1329492"/>
              <a:ext cx="95250" cy="95250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4" name="Freeform: Shape 25">
              <a:extLst>
                <a:ext uri="{FF2B5EF4-FFF2-40B4-BE49-F238E27FC236}">
                  <a16:creationId xmlns:a16="http://schemas.microsoft.com/office/drawing/2014/main" id="{9B1A5F3B-C2B8-1A58-42E1-1C629BF3DB9D}"/>
                </a:ext>
              </a:extLst>
            </p:cNvPr>
            <p:cNvSpPr/>
            <p:nvPr/>
          </p:nvSpPr>
          <p:spPr>
            <a:xfrm>
              <a:off x="6386989" y="1257136"/>
              <a:ext cx="695324" cy="581025"/>
            </a:xfrm>
            <a:custGeom>
              <a:avLst/>
              <a:gdLst>
                <a:gd name="connsiteX0" fmla="*/ 689134 w 695325"/>
                <a:gd name="connsiteY0" fmla="*/ 368141 h 581025"/>
                <a:gd name="connsiteX1" fmla="*/ 571024 w 695325"/>
                <a:gd name="connsiteY1" fmla="*/ 127159 h 581025"/>
                <a:gd name="connsiteX2" fmla="*/ 388144 w 695325"/>
                <a:gd name="connsiteY2" fmla="*/ 13811 h 581025"/>
                <a:gd name="connsiteX3" fmla="*/ 371951 w 695325"/>
                <a:gd name="connsiteY3" fmla="*/ 7144 h 581025"/>
                <a:gd name="connsiteX4" fmla="*/ 371951 w 695325"/>
                <a:gd name="connsiteY4" fmla="*/ 7144 h 581025"/>
                <a:gd name="connsiteX5" fmla="*/ 371951 w 695325"/>
                <a:gd name="connsiteY5" fmla="*/ 7144 h 581025"/>
                <a:gd name="connsiteX6" fmla="*/ 7144 w 695325"/>
                <a:gd name="connsiteY6" fmla="*/ 383381 h 581025"/>
                <a:gd name="connsiteX7" fmla="*/ 132874 w 695325"/>
                <a:gd name="connsiteY7" fmla="*/ 569119 h 581025"/>
                <a:gd name="connsiteX8" fmla="*/ 262414 w 695325"/>
                <a:gd name="connsiteY8" fmla="*/ 571976 h 581025"/>
                <a:gd name="connsiteX9" fmla="*/ 358616 w 695325"/>
                <a:gd name="connsiteY9" fmla="*/ 506254 h 581025"/>
                <a:gd name="connsiteX10" fmla="*/ 577692 w 695325"/>
                <a:gd name="connsiteY10" fmla="*/ 271939 h 581025"/>
                <a:gd name="connsiteX11" fmla="*/ 690086 w 695325"/>
                <a:gd name="connsiteY11" fmla="*/ 374809 h 581025"/>
                <a:gd name="connsiteX12" fmla="*/ 689134 w 695325"/>
                <a:gd name="connsiteY12" fmla="*/ 368141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95325" h="581025">
                  <a:moveTo>
                    <a:pt x="689134" y="368141"/>
                  </a:moveTo>
                  <a:cubicBezTo>
                    <a:pt x="687229" y="271939"/>
                    <a:pt x="641509" y="191929"/>
                    <a:pt x="571024" y="127159"/>
                  </a:cubicBezTo>
                  <a:cubicBezTo>
                    <a:pt x="517684" y="78581"/>
                    <a:pt x="453866" y="41434"/>
                    <a:pt x="388144" y="13811"/>
                  </a:cubicBezTo>
                  <a:cubicBezTo>
                    <a:pt x="382429" y="11906"/>
                    <a:pt x="377666" y="9049"/>
                    <a:pt x="371951" y="7144"/>
                  </a:cubicBezTo>
                  <a:lnTo>
                    <a:pt x="371951" y="7144"/>
                  </a:lnTo>
                  <a:cubicBezTo>
                    <a:pt x="371951" y="7144"/>
                    <a:pt x="371951" y="7144"/>
                    <a:pt x="371951" y="7144"/>
                  </a:cubicBezTo>
                  <a:cubicBezTo>
                    <a:pt x="290036" y="105251"/>
                    <a:pt x="7144" y="178594"/>
                    <a:pt x="7144" y="383381"/>
                  </a:cubicBezTo>
                  <a:cubicBezTo>
                    <a:pt x="7144" y="463391"/>
                    <a:pt x="57626" y="538639"/>
                    <a:pt x="132874" y="569119"/>
                  </a:cubicBezTo>
                  <a:cubicBezTo>
                    <a:pt x="175736" y="585311"/>
                    <a:pt x="219551" y="586264"/>
                    <a:pt x="262414" y="571976"/>
                  </a:cubicBezTo>
                  <a:cubicBezTo>
                    <a:pt x="300514" y="559594"/>
                    <a:pt x="332899" y="535781"/>
                    <a:pt x="358616" y="506254"/>
                  </a:cubicBezTo>
                  <a:cubicBezTo>
                    <a:pt x="441484" y="413861"/>
                    <a:pt x="475774" y="271939"/>
                    <a:pt x="577692" y="271939"/>
                  </a:cubicBezTo>
                  <a:cubicBezTo>
                    <a:pt x="671036" y="271939"/>
                    <a:pt x="683419" y="338614"/>
                    <a:pt x="690086" y="374809"/>
                  </a:cubicBezTo>
                  <a:cubicBezTo>
                    <a:pt x="689134" y="373856"/>
                    <a:pt x="689134" y="371951"/>
                    <a:pt x="689134" y="36814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410880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c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3A966515-C64B-E7BB-1198-D99D16DE65B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343473" y="1"/>
            <a:ext cx="10877102" cy="2931886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Insert Picture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C410B-B58E-46DB-B5F0-7F515E223D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43473" y="5498477"/>
            <a:ext cx="10440540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Optional: Click to insert name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A6C182ED-7FBB-D436-05D8-96E184F17B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43473" y="5082209"/>
            <a:ext cx="10440540" cy="246221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6ABBE1C-3373-50D9-4152-CA1AC4A5E7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43473" y="3429000"/>
            <a:ext cx="10440540" cy="1580003"/>
          </a:xfr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9" name="Graphic 4">
            <a:extLst>
              <a:ext uri="{FF2B5EF4-FFF2-40B4-BE49-F238E27FC236}">
                <a16:creationId xmlns:a16="http://schemas.microsoft.com/office/drawing/2014/main" id="{9D6D8CF0-5BA7-A520-BD35-955C3756E1D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319621" y="6000692"/>
            <a:ext cx="2988000" cy="458780"/>
            <a:chOff x="3176111" y="1257136"/>
            <a:chExt cx="5719756" cy="878207"/>
          </a:xfrm>
        </p:grpSpPr>
        <p:sp>
          <p:nvSpPr>
            <p:cNvPr id="10" name="Freeform: Shape 2">
              <a:extLst>
                <a:ext uri="{FF2B5EF4-FFF2-40B4-BE49-F238E27FC236}">
                  <a16:creationId xmlns:a16="http://schemas.microsoft.com/office/drawing/2014/main" id="{D47D11A2-3590-05F1-77F1-0CCBEF7EE892}"/>
                </a:ext>
              </a:extLst>
            </p:cNvPr>
            <p:cNvSpPr/>
            <p:nvPr/>
          </p:nvSpPr>
          <p:spPr>
            <a:xfrm>
              <a:off x="8667268" y="1360960"/>
              <a:ext cx="228599" cy="485775"/>
            </a:xfrm>
            <a:custGeom>
              <a:avLst/>
              <a:gdLst>
                <a:gd name="connsiteX0" fmla="*/ 43339 w 228600"/>
                <a:gd name="connsiteY0" fmla="*/ 14764 h 485775"/>
                <a:gd name="connsiteX1" fmla="*/ 90011 w 228600"/>
                <a:gd name="connsiteY1" fmla="*/ 7144 h 485775"/>
                <a:gd name="connsiteX2" fmla="*/ 90011 w 228600"/>
                <a:gd name="connsiteY2" fmla="*/ 118586 h 485775"/>
                <a:gd name="connsiteX3" fmla="*/ 217646 w 228600"/>
                <a:gd name="connsiteY3" fmla="*/ 118586 h 485775"/>
                <a:gd name="connsiteX4" fmla="*/ 217646 w 228600"/>
                <a:gd name="connsiteY4" fmla="*/ 148114 h 485775"/>
                <a:gd name="connsiteX5" fmla="*/ 180499 w 228600"/>
                <a:gd name="connsiteY5" fmla="*/ 185261 h 485775"/>
                <a:gd name="connsiteX6" fmla="*/ 90011 w 228600"/>
                <a:gd name="connsiteY6" fmla="*/ 185261 h 485775"/>
                <a:gd name="connsiteX7" fmla="*/ 90011 w 228600"/>
                <a:gd name="connsiteY7" fmla="*/ 330994 h 485775"/>
                <a:gd name="connsiteX8" fmla="*/ 103346 w 228600"/>
                <a:gd name="connsiteY8" fmla="*/ 392906 h 485775"/>
                <a:gd name="connsiteX9" fmla="*/ 150019 w 228600"/>
                <a:gd name="connsiteY9" fmla="*/ 411004 h 485775"/>
                <a:gd name="connsiteX10" fmla="*/ 190024 w 228600"/>
                <a:gd name="connsiteY10" fmla="*/ 406241 h 485775"/>
                <a:gd name="connsiteX11" fmla="*/ 217646 w 228600"/>
                <a:gd name="connsiteY11" fmla="*/ 397669 h 485775"/>
                <a:gd name="connsiteX12" fmla="*/ 226219 w 228600"/>
                <a:gd name="connsiteY12" fmla="*/ 438626 h 485775"/>
                <a:gd name="connsiteX13" fmla="*/ 205264 w 228600"/>
                <a:gd name="connsiteY13" fmla="*/ 472916 h 485775"/>
                <a:gd name="connsiteX14" fmla="*/ 193834 w 228600"/>
                <a:gd name="connsiteY14" fmla="*/ 475774 h 485775"/>
                <a:gd name="connsiteX15" fmla="*/ 138589 w 228600"/>
                <a:gd name="connsiteY15" fmla="*/ 482441 h 485775"/>
                <a:gd name="connsiteX16" fmla="*/ 74771 w 228600"/>
                <a:gd name="connsiteY16" fmla="*/ 471964 h 485775"/>
                <a:gd name="connsiteX17" fmla="*/ 33814 w 228600"/>
                <a:gd name="connsiteY17" fmla="*/ 442436 h 485775"/>
                <a:gd name="connsiteX18" fmla="*/ 12859 w 228600"/>
                <a:gd name="connsiteY18" fmla="*/ 394811 h 485775"/>
                <a:gd name="connsiteX19" fmla="*/ 7144 w 228600"/>
                <a:gd name="connsiteY19" fmla="*/ 330994 h 485775"/>
                <a:gd name="connsiteX20" fmla="*/ 7144 w 228600"/>
                <a:gd name="connsiteY20" fmla="*/ 56674 h 485775"/>
                <a:gd name="connsiteX21" fmla="*/ 43339 w 228600"/>
                <a:gd name="connsiteY21" fmla="*/ 14764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28600" h="485775">
                  <a:moveTo>
                    <a:pt x="43339" y="14764"/>
                  </a:moveTo>
                  <a:lnTo>
                    <a:pt x="90011" y="7144"/>
                  </a:lnTo>
                  <a:lnTo>
                    <a:pt x="90011" y="118586"/>
                  </a:lnTo>
                  <a:lnTo>
                    <a:pt x="217646" y="118586"/>
                  </a:lnTo>
                  <a:lnTo>
                    <a:pt x="217646" y="148114"/>
                  </a:lnTo>
                  <a:cubicBezTo>
                    <a:pt x="217646" y="168116"/>
                    <a:pt x="201453" y="185261"/>
                    <a:pt x="180499" y="185261"/>
                  </a:cubicBezTo>
                  <a:lnTo>
                    <a:pt x="90011" y="185261"/>
                  </a:lnTo>
                  <a:lnTo>
                    <a:pt x="90011" y="330994"/>
                  </a:lnTo>
                  <a:cubicBezTo>
                    <a:pt x="90011" y="359569"/>
                    <a:pt x="94774" y="380524"/>
                    <a:pt x="103346" y="392906"/>
                  </a:cubicBezTo>
                  <a:cubicBezTo>
                    <a:pt x="112871" y="405289"/>
                    <a:pt x="128111" y="411004"/>
                    <a:pt x="150019" y="411004"/>
                  </a:cubicBezTo>
                  <a:cubicBezTo>
                    <a:pt x="165259" y="411004"/>
                    <a:pt x="178594" y="409099"/>
                    <a:pt x="190024" y="406241"/>
                  </a:cubicBezTo>
                  <a:cubicBezTo>
                    <a:pt x="201453" y="403384"/>
                    <a:pt x="210978" y="400526"/>
                    <a:pt x="217646" y="397669"/>
                  </a:cubicBezTo>
                  <a:lnTo>
                    <a:pt x="226219" y="438626"/>
                  </a:lnTo>
                  <a:cubicBezTo>
                    <a:pt x="229076" y="453866"/>
                    <a:pt x="220503" y="469106"/>
                    <a:pt x="205264" y="472916"/>
                  </a:cubicBezTo>
                  <a:lnTo>
                    <a:pt x="193834" y="475774"/>
                  </a:lnTo>
                  <a:cubicBezTo>
                    <a:pt x="178594" y="480536"/>
                    <a:pt x="159544" y="482441"/>
                    <a:pt x="138589" y="482441"/>
                  </a:cubicBezTo>
                  <a:cubicBezTo>
                    <a:pt x="112871" y="482441"/>
                    <a:pt x="91916" y="478631"/>
                    <a:pt x="74771" y="471964"/>
                  </a:cubicBezTo>
                  <a:cubicBezTo>
                    <a:pt x="57626" y="465296"/>
                    <a:pt x="44291" y="454819"/>
                    <a:pt x="33814" y="442436"/>
                  </a:cubicBezTo>
                  <a:cubicBezTo>
                    <a:pt x="23336" y="429101"/>
                    <a:pt x="16669" y="413861"/>
                    <a:pt x="12859" y="394811"/>
                  </a:cubicBezTo>
                  <a:cubicBezTo>
                    <a:pt x="9049" y="376714"/>
                    <a:pt x="7144" y="354806"/>
                    <a:pt x="7144" y="330994"/>
                  </a:cubicBezTo>
                  <a:lnTo>
                    <a:pt x="7144" y="56674"/>
                  </a:lnTo>
                  <a:cubicBezTo>
                    <a:pt x="7144" y="36671"/>
                    <a:pt x="22384" y="18574"/>
                    <a:pt x="43339" y="14764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1" name="Freeform: Shape 3">
              <a:extLst>
                <a:ext uri="{FF2B5EF4-FFF2-40B4-BE49-F238E27FC236}">
                  <a16:creationId xmlns:a16="http://schemas.microsoft.com/office/drawing/2014/main" id="{6BCD596F-F425-9A68-AA4D-91D0C4EF3D57}"/>
                </a:ext>
              </a:extLst>
            </p:cNvPr>
            <p:cNvSpPr/>
            <p:nvPr/>
          </p:nvSpPr>
          <p:spPr>
            <a:xfrm>
              <a:off x="7972896" y="1460972"/>
              <a:ext cx="333375" cy="381000"/>
            </a:xfrm>
            <a:custGeom>
              <a:avLst/>
              <a:gdLst>
                <a:gd name="connsiteX0" fmla="*/ 7144 w 333375"/>
                <a:gd name="connsiteY0" fmla="*/ 196691 h 381000"/>
                <a:gd name="connsiteX1" fmla="*/ 21431 w 333375"/>
                <a:gd name="connsiteY1" fmla="*/ 113824 h 381000"/>
                <a:gd name="connsiteX2" fmla="*/ 58579 w 333375"/>
                <a:gd name="connsiteY2" fmla="*/ 54769 h 381000"/>
                <a:gd name="connsiteX3" fmla="*/ 111919 w 333375"/>
                <a:gd name="connsiteY3" fmla="*/ 19526 h 381000"/>
                <a:gd name="connsiteX4" fmla="*/ 173831 w 333375"/>
                <a:gd name="connsiteY4" fmla="*/ 7144 h 381000"/>
                <a:gd name="connsiteX5" fmla="*/ 289084 w 333375"/>
                <a:gd name="connsiteY5" fmla="*/ 52864 h 381000"/>
                <a:gd name="connsiteX6" fmla="*/ 330041 w 333375"/>
                <a:gd name="connsiteY6" fmla="*/ 189071 h 381000"/>
                <a:gd name="connsiteX7" fmla="*/ 330041 w 333375"/>
                <a:gd name="connsiteY7" fmla="*/ 204311 h 381000"/>
                <a:gd name="connsiteX8" fmla="*/ 329089 w 333375"/>
                <a:gd name="connsiteY8" fmla="*/ 219551 h 381000"/>
                <a:gd name="connsiteX9" fmla="*/ 93822 w 333375"/>
                <a:gd name="connsiteY9" fmla="*/ 219551 h 381000"/>
                <a:gd name="connsiteX10" fmla="*/ 124301 w 333375"/>
                <a:gd name="connsiteY10" fmla="*/ 286226 h 381000"/>
                <a:gd name="connsiteX11" fmla="*/ 202406 w 333375"/>
                <a:gd name="connsiteY11" fmla="*/ 310039 h 381000"/>
                <a:gd name="connsiteX12" fmla="*/ 257651 w 333375"/>
                <a:gd name="connsiteY12" fmla="*/ 304324 h 381000"/>
                <a:gd name="connsiteX13" fmla="*/ 269081 w 333375"/>
                <a:gd name="connsiteY13" fmla="*/ 301466 h 381000"/>
                <a:gd name="connsiteX14" fmla="*/ 301466 w 333375"/>
                <a:gd name="connsiteY14" fmla="*/ 323374 h 381000"/>
                <a:gd name="connsiteX15" fmla="*/ 307181 w 333375"/>
                <a:gd name="connsiteY15" fmla="*/ 360521 h 381000"/>
                <a:gd name="connsiteX16" fmla="*/ 288131 w 333375"/>
                <a:gd name="connsiteY16" fmla="*/ 368141 h 381000"/>
                <a:gd name="connsiteX17" fmla="*/ 260509 w 333375"/>
                <a:gd name="connsiteY17" fmla="*/ 374809 h 381000"/>
                <a:gd name="connsiteX18" fmla="*/ 227172 w 333375"/>
                <a:gd name="connsiteY18" fmla="*/ 379571 h 381000"/>
                <a:gd name="connsiteX19" fmla="*/ 190976 w 333375"/>
                <a:gd name="connsiteY19" fmla="*/ 381476 h 381000"/>
                <a:gd name="connsiteX20" fmla="*/ 109061 w 333375"/>
                <a:gd name="connsiteY20" fmla="*/ 367189 h 381000"/>
                <a:gd name="connsiteX21" fmla="*/ 51911 w 333375"/>
                <a:gd name="connsiteY21" fmla="*/ 328136 h 381000"/>
                <a:gd name="connsiteX22" fmla="*/ 18574 w 333375"/>
                <a:gd name="connsiteY22" fmla="*/ 269081 h 381000"/>
                <a:gd name="connsiteX23" fmla="*/ 7144 w 333375"/>
                <a:gd name="connsiteY23" fmla="*/ 196691 h 381000"/>
                <a:gd name="connsiteX24" fmla="*/ 246222 w 333375"/>
                <a:gd name="connsiteY24" fmla="*/ 159544 h 381000"/>
                <a:gd name="connsiteX25" fmla="*/ 241459 w 333375"/>
                <a:gd name="connsiteY25" fmla="*/ 127159 h 381000"/>
                <a:gd name="connsiteX26" fmla="*/ 227172 w 333375"/>
                <a:gd name="connsiteY26" fmla="*/ 100489 h 381000"/>
                <a:gd name="connsiteX27" fmla="*/ 204311 w 333375"/>
                <a:gd name="connsiteY27" fmla="*/ 82391 h 381000"/>
                <a:gd name="connsiteX28" fmla="*/ 172879 w 333375"/>
                <a:gd name="connsiteY28" fmla="*/ 75724 h 381000"/>
                <a:gd name="connsiteX29" fmla="*/ 139541 w 333375"/>
                <a:gd name="connsiteY29" fmla="*/ 83344 h 381000"/>
                <a:gd name="connsiteX30" fmla="*/ 115729 w 333375"/>
                <a:gd name="connsiteY30" fmla="*/ 102394 h 381000"/>
                <a:gd name="connsiteX31" fmla="*/ 100489 w 333375"/>
                <a:gd name="connsiteY31" fmla="*/ 129064 h 381000"/>
                <a:gd name="connsiteX32" fmla="*/ 92869 w 333375"/>
                <a:gd name="connsiteY32" fmla="*/ 159544 h 381000"/>
                <a:gd name="connsiteX33" fmla="*/ 246222 w 333375"/>
                <a:gd name="connsiteY33" fmla="*/ 159544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33375" h="381000">
                  <a:moveTo>
                    <a:pt x="7144" y="196691"/>
                  </a:moveTo>
                  <a:cubicBezTo>
                    <a:pt x="7144" y="165259"/>
                    <a:pt x="11906" y="137636"/>
                    <a:pt x="21431" y="113824"/>
                  </a:cubicBezTo>
                  <a:cubicBezTo>
                    <a:pt x="30956" y="90011"/>
                    <a:pt x="43339" y="70009"/>
                    <a:pt x="58579" y="54769"/>
                  </a:cubicBezTo>
                  <a:cubicBezTo>
                    <a:pt x="73819" y="38576"/>
                    <a:pt x="91916" y="27146"/>
                    <a:pt x="111919" y="19526"/>
                  </a:cubicBezTo>
                  <a:cubicBezTo>
                    <a:pt x="131922" y="11906"/>
                    <a:pt x="152876" y="7144"/>
                    <a:pt x="173831" y="7144"/>
                  </a:cubicBezTo>
                  <a:cubicBezTo>
                    <a:pt x="223361" y="7144"/>
                    <a:pt x="261461" y="22384"/>
                    <a:pt x="289084" y="52864"/>
                  </a:cubicBezTo>
                  <a:cubicBezTo>
                    <a:pt x="316706" y="83344"/>
                    <a:pt x="330041" y="129064"/>
                    <a:pt x="330041" y="189071"/>
                  </a:cubicBezTo>
                  <a:cubicBezTo>
                    <a:pt x="330041" y="193834"/>
                    <a:pt x="330041" y="198596"/>
                    <a:pt x="330041" y="204311"/>
                  </a:cubicBezTo>
                  <a:cubicBezTo>
                    <a:pt x="330041" y="210026"/>
                    <a:pt x="329089" y="214789"/>
                    <a:pt x="329089" y="219551"/>
                  </a:cubicBezTo>
                  <a:lnTo>
                    <a:pt x="93822" y="219551"/>
                  </a:lnTo>
                  <a:cubicBezTo>
                    <a:pt x="95726" y="248126"/>
                    <a:pt x="106204" y="270034"/>
                    <a:pt x="124301" y="286226"/>
                  </a:cubicBezTo>
                  <a:cubicBezTo>
                    <a:pt x="142399" y="301466"/>
                    <a:pt x="168116" y="310039"/>
                    <a:pt x="202406" y="310039"/>
                  </a:cubicBezTo>
                  <a:cubicBezTo>
                    <a:pt x="222409" y="310039"/>
                    <a:pt x="240506" y="308134"/>
                    <a:pt x="257651" y="304324"/>
                  </a:cubicBezTo>
                  <a:cubicBezTo>
                    <a:pt x="261461" y="303371"/>
                    <a:pt x="266224" y="302419"/>
                    <a:pt x="269081" y="301466"/>
                  </a:cubicBezTo>
                  <a:cubicBezTo>
                    <a:pt x="284322" y="297656"/>
                    <a:pt x="298609" y="308134"/>
                    <a:pt x="301466" y="323374"/>
                  </a:cubicBezTo>
                  <a:lnTo>
                    <a:pt x="307181" y="360521"/>
                  </a:lnTo>
                  <a:cubicBezTo>
                    <a:pt x="302419" y="362426"/>
                    <a:pt x="296704" y="365284"/>
                    <a:pt x="288131" y="368141"/>
                  </a:cubicBezTo>
                  <a:cubicBezTo>
                    <a:pt x="280511" y="370999"/>
                    <a:pt x="270986" y="372904"/>
                    <a:pt x="260509" y="374809"/>
                  </a:cubicBezTo>
                  <a:cubicBezTo>
                    <a:pt x="250031" y="376714"/>
                    <a:pt x="239554" y="378619"/>
                    <a:pt x="227172" y="379571"/>
                  </a:cubicBezTo>
                  <a:cubicBezTo>
                    <a:pt x="214789" y="380524"/>
                    <a:pt x="203359" y="381476"/>
                    <a:pt x="190976" y="381476"/>
                  </a:cubicBezTo>
                  <a:cubicBezTo>
                    <a:pt x="159544" y="381476"/>
                    <a:pt x="131922" y="376714"/>
                    <a:pt x="109061" y="367189"/>
                  </a:cubicBezTo>
                  <a:cubicBezTo>
                    <a:pt x="86201" y="357664"/>
                    <a:pt x="67151" y="345281"/>
                    <a:pt x="51911" y="328136"/>
                  </a:cubicBezTo>
                  <a:cubicBezTo>
                    <a:pt x="36672" y="311944"/>
                    <a:pt x="26194" y="291941"/>
                    <a:pt x="18574" y="269081"/>
                  </a:cubicBezTo>
                  <a:cubicBezTo>
                    <a:pt x="10954" y="248126"/>
                    <a:pt x="7144" y="223361"/>
                    <a:pt x="7144" y="196691"/>
                  </a:cubicBezTo>
                  <a:close/>
                  <a:moveTo>
                    <a:pt x="246222" y="159544"/>
                  </a:moveTo>
                  <a:cubicBezTo>
                    <a:pt x="246222" y="148114"/>
                    <a:pt x="244316" y="137636"/>
                    <a:pt x="241459" y="127159"/>
                  </a:cubicBezTo>
                  <a:cubicBezTo>
                    <a:pt x="238601" y="116681"/>
                    <a:pt x="233839" y="108109"/>
                    <a:pt x="227172" y="100489"/>
                  </a:cubicBezTo>
                  <a:cubicBezTo>
                    <a:pt x="221456" y="92869"/>
                    <a:pt x="213836" y="87154"/>
                    <a:pt x="204311" y="82391"/>
                  </a:cubicBezTo>
                  <a:cubicBezTo>
                    <a:pt x="195739" y="77629"/>
                    <a:pt x="185261" y="75724"/>
                    <a:pt x="172879" y="75724"/>
                  </a:cubicBezTo>
                  <a:cubicBezTo>
                    <a:pt x="160497" y="75724"/>
                    <a:pt x="149066" y="78581"/>
                    <a:pt x="139541" y="83344"/>
                  </a:cubicBezTo>
                  <a:cubicBezTo>
                    <a:pt x="130016" y="88106"/>
                    <a:pt x="121444" y="94774"/>
                    <a:pt x="115729" y="102394"/>
                  </a:cubicBezTo>
                  <a:cubicBezTo>
                    <a:pt x="110014" y="110014"/>
                    <a:pt x="104299" y="118586"/>
                    <a:pt x="100489" y="129064"/>
                  </a:cubicBezTo>
                  <a:cubicBezTo>
                    <a:pt x="96679" y="139541"/>
                    <a:pt x="94774" y="149066"/>
                    <a:pt x="92869" y="159544"/>
                  </a:cubicBezTo>
                  <a:lnTo>
                    <a:pt x="246222" y="159544"/>
                  </a:ln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2" name="Freeform: Shape 4">
              <a:extLst>
                <a:ext uri="{FF2B5EF4-FFF2-40B4-BE49-F238E27FC236}">
                  <a16:creationId xmlns:a16="http://schemas.microsoft.com/office/drawing/2014/main" id="{86590D9F-49F4-DED8-6843-003A8EC79A98}"/>
                </a:ext>
              </a:extLst>
            </p:cNvPr>
            <p:cNvSpPr/>
            <p:nvPr/>
          </p:nvSpPr>
          <p:spPr>
            <a:xfrm>
              <a:off x="7182323" y="1317145"/>
              <a:ext cx="114301" cy="114301"/>
            </a:xfrm>
            <a:custGeom>
              <a:avLst/>
              <a:gdLst>
                <a:gd name="connsiteX0" fmla="*/ 109061 w 114300"/>
                <a:gd name="connsiteY0" fmla="*/ 58579 h 114300"/>
                <a:gd name="connsiteX1" fmla="*/ 93821 w 114300"/>
                <a:gd name="connsiteY1" fmla="*/ 95726 h 114300"/>
                <a:gd name="connsiteX2" fmla="*/ 58579 w 114300"/>
                <a:gd name="connsiteY2" fmla="*/ 109061 h 114300"/>
                <a:gd name="connsiteX3" fmla="*/ 22384 w 114300"/>
                <a:gd name="connsiteY3" fmla="*/ 95726 h 114300"/>
                <a:gd name="connsiteX4" fmla="*/ 7144 w 114300"/>
                <a:gd name="connsiteY4" fmla="*/ 58579 h 114300"/>
                <a:gd name="connsiteX5" fmla="*/ 22384 w 114300"/>
                <a:gd name="connsiteY5" fmla="*/ 20479 h 114300"/>
                <a:gd name="connsiteX6" fmla="*/ 58579 w 114300"/>
                <a:gd name="connsiteY6" fmla="*/ 7144 h 114300"/>
                <a:gd name="connsiteX7" fmla="*/ 93821 w 114300"/>
                <a:gd name="connsiteY7" fmla="*/ 20479 h 114300"/>
                <a:gd name="connsiteX8" fmla="*/ 109061 w 114300"/>
                <a:gd name="connsiteY8" fmla="*/ 58579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9061" y="58579"/>
                  </a:moveTo>
                  <a:cubicBezTo>
                    <a:pt x="109061" y="73819"/>
                    <a:pt x="104299" y="86201"/>
                    <a:pt x="93821" y="95726"/>
                  </a:cubicBezTo>
                  <a:cubicBezTo>
                    <a:pt x="83344" y="105251"/>
                    <a:pt x="71914" y="109061"/>
                    <a:pt x="58579" y="109061"/>
                  </a:cubicBezTo>
                  <a:cubicBezTo>
                    <a:pt x="44291" y="109061"/>
                    <a:pt x="31909" y="104299"/>
                    <a:pt x="22384" y="95726"/>
                  </a:cubicBezTo>
                  <a:cubicBezTo>
                    <a:pt x="11906" y="86201"/>
                    <a:pt x="7144" y="73819"/>
                    <a:pt x="7144" y="58579"/>
                  </a:cubicBezTo>
                  <a:cubicBezTo>
                    <a:pt x="7144" y="42386"/>
                    <a:pt x="11906" y="30004"/>
                    <a:pt x="22384" y="20479"/>
                  </a:cubicBezTo>
                  <a:cubicBezTo>
                    <a:pt x="32861" y="10954"/>
                    <a:pt x="44291" y="7144"/>
                    <a:pt x="58579" y="7144"/>
                  </a:cubicBezTo>
                  <a:cubicBezTo>
                    <a:pt x="71914" y="7144"/>
                    <a:pt x="84296" y="11906"/>
                    <a:pt x="93821" y="20479"/>
                  </a:cubicBezTo>
                  <a:cubicBezTo>
                    <a:pt x="104299" y="30004"/>
                    <a:pt x="109061" y="43339"/>
                    <a:pt x="109061" y="5857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3" name="Freeform: Shape 5">
              <a:extLst>
                <a:ext uri="{FF2B5EF4-FFF2-40B4-BE49-F238E27FC236}">
                  <a16:creationId xmlns:a16="http://schemas.microsoft.com/office/drawing/2014/main" id="{D62562C7-AE5C-3589-FB4F-9F8E92FDF535}"/>
                </a:ext>
              </a:extLst>
            </p:cNvPr>
            <p:cNvSpPr/>
            <p:nvPr/>
          </p:nvSpPr>
          <p:spPr>
            <a:xfrm>
              <a:off x="7192800" y="1473355"/>
              <a:ext cx="95250" cy="371475"/>
            </a:xfrm>
            <a:custGeom>
              <a:avLst/>
              <a:gdLst>
                <a:gd name="connsiteX0" fmla="*/ 90011 w 95250"/>
                <a:gd name="connsiteY0" fmla="*/ 366236 h 371475"/>
                <a:gd name="connsiteX1" fmla="*/ 67151 w 95250"/>
                <a:gd name="connsiteY1" fmla="*/ 366236 h 371475"/>
                <a:gd name="connsiteX2" fmla="*/ 7144 w 95250"/>
                <a:gd name="connsiteY2" fmla="*/ 306229 h 371475"/>
                <a:gd name="connsiteX3" fmla="*/ 7144 w 95250"/>
                <a:gd name="connsiteY3" fmla="*/ 7144 h 371475"/>
                <a:gd name="connsiteX4" fmla="*/ 35719 w 95250"/>
                <a:gd name="connsiteY4" fmla="*/ 7144 h 371475"/>
                <a:gd name="connsiteX5" fmla="*/ 90011 w 95250"/>
                <a:gd name="connsiteY5" fmla="*/ 62389 h 371475"/>
                <a:gd name="connsiteX6" fmla="*/ 90011 w 95250"/>
                <a:gd name="connsiteY6" fmla="*/ 366236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250" h="371475">
                  <a:moveTo>
                    <a:pt x="90011" y="366236"/>
                  </a:moveTo>
                  <a:lnTo>
                    <a:pt x="67151" y="366236"/>
                  </a:lnTo>
                  <a:cubicBezTo>
                    <a:pt x="33814" y="366236"/>
                    <a:pt x="7144" y="339566"/>
                    <a:pt x="7144" y="306229"/>
                  </a:cubicBezTo>
                  <a:lnTo>
                    <a:pt x="7144" y="7144"/>
                  </a:lnTo>
                  <a:lnTo>
                    <a:pt x="35719" y="7144"/>
                  </a:lnTo>
                  <a:cubicBezTo>
                    <a:pt x="66199" y="7144"/>
                    <a:pt x="90011" y="31909"/>
                    <a:pt x="90011" y="62389"/>
                  </a:cubicBezTo>
                  <a:lnTo>
                    <a:pt x="90011" y="366236"/>
                  </a:ln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6" name="Freeform: Shape 6">
              <a:extLst>
                <a:ext uri="{FF2B5EF4-FFF2-40B4-BE49-F238E27FC236}">
                  <a16:creationId xmlns:a16="http://schemas.microsoft.com/office/drawing/2014/main" id="{60B0B2EE-A3FA-2426-1BED-34D93339823C}"/>
                </a:ext>
              </a:extLst>
            </p:cNvPr>
            <p:cNvSpPr/>
            <p:nvPr/>
          </p:nvSpPr>
          <p:spPr>
            <a:xfrm>
              <a:off x="7637617" y="1474308"/>
              <a:ext cx="352426" cy="371475"/>
            </a:xfrm>
            <a:custGeom>
              <a:avLst/>
              <a:gdLst>
                <a:gd name="connsiteX0" fmla="*/ 287179 w 352425"/>
                <a:gd name="connsiteY0" fmla="*/ 7144 h 371475"/>
                <a:gd name="connsiteX1" fmla="*/ 250031 w 352425"/>
                <a:gd name="connsiteY1" fmla="*/ 43339 h 371475"/>
                <a:gd name="connsiteX2" fmla="*/ 179547 w 352425"/>
                <a:gd name="connsiteY2" fmla="*/ 246221 h 371475"/>
                <a:gd name="connsiteX3" fmla="*/ 106204 w 352425"/>
                <a:gd name="connsiteY3" fmla="*/ 47149 h 371475"/>
                <a:gd name="connsiteX4" fmla="*/ 68104 w 352425"/>
                <a:gd name="connsiteY4" fmla="*/ 7144 h 371475"/>
                <a:gd name="connsiteX5" fmla="*/ 27147 w 352425"/>
                <a:gd name="connsiteY5" fmla="*/ 7144 h 371475"/>
                <a:gd name="connsiteX6" fmla="*/ 7144 w 352425"/>
                <a:gd name="connsiteY6" fmla="*/ 7144 h 371475"/>
                <a:gd name="connsiteX7" fmla="*/ 130969 w 352425"/>
                <a:gd name="connsiteY7" fmla="*/ 329089 h 371475"/>
                <a:gd name="connsiteX8" fmla="*/ 171927 w 352425"/>
                <a:gd name="connsiteY8" fmla="*/ 365284 h 371475"/>
                <a:gd name="connsiteX9" fmla="*/ 213836 w 352425"/>
                <a:gd name="connsiteY9" fmla="*/ 365284 h 371475"/>
                <a:gd name="connsiteX10" fmla="*/ 350044 w 352425"/>
                <a:gd name="connsiteY10" fmla="*/ 7144 h 371475"/>
                <a:gd name="connsiteX11" fmla="*/ 287179 w 352425"/>
                <a:gd name="connsiteY11" fmla="*/ 7144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52425" h="371475">
                  <a:moveTo>
                    <a:pt x="287179" y="7144"/>
                  </a:moveTo>
                  <a:cubicBezTo>
                    <a:pt x="265272" y="7144"/>
                    <a:pt x="259556" y="18574"/>
                    <a:pt x="250031" y="43339"/>
                  </a:cubicBezTo>
                  <a:lnTo>
                    <a:pt x="179547" y="246221"/>
                  </a:lnTo>
                  <a:lnTo>
                    <a:pt x="106204" y="47149"/>
                  </a:lnTo>
                  <a:cubicBezTo>
                    <a:pt x="97631" y="21431"/>
                    <a:pt x="90011" y="7144"/>
                    <a:pt x="68104" y="7144"/>
                  </a:cubicBezTo>
                  <a:lnTo>
                    <a:pt x="27147" y="7144"/>
                  </a:lnTo>
                  <a:lnTo>
                    <a:pt x="7144" y="7144"/>
                  </a:lnTo>
                  <a:lnTo>
                    <a:pt x="130969" y="329089"/>
                  </a:lnTo>
                  <a:cubicBezTo>
                    <a:pt x="142399" y="352901"/>
                    <a:pt x="150019" y="365284"/>
                    <a:pt x="171927" y="365284"/>
                  </a:cubicBezTo>
                  <a:lnTo>
                    <a:pt x="213836" y="365284"/>
                  </a:lnTo>
                  <a:lnTo>
                    <a:pt x="350044" y="7144"/>
                  </a:lnTo>
                  <a:lnTo>
                    <a:pt x="287179" y="7144"/>
                  </a:ln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7" name="Freeform: Shape 7">
              <a:extLst>
                <a:ext uri="{FF2B5EF4-FFF2-40B4-BE49-F238E27FC236}">
                  <a16:creationId xmlns:a16="http://schemas.microsoft.com/office/drawing/2014/main" id="{74E2ED07-916B-D3F0-C9C1-2B7E11FD7757}"/>
                </a:ext>
              </a:extLst>
            </p:cNvPr>
            <p:cNvSpPr/>
            <p:nvPr/>
          </p:nvSpPr>
          <p:spPr>
            <a:xfrm>
              <a:off x="7326150" y="1464782"/>
              <a:ext cx="314325" cy="381000"/>
            </a:xfrm>
            <a:custGeom>
              <a:avLst/>
              <a:gdLst>
                <a:gd name="connsiteX0" fmla="*/ 300514 w 314325"/>
                <a:gd name="connsiteY0" fmla="*/ 105251 h 381000"/>
                <a:gd name="connsiteX1" fmla="*/ 275749 w 314325"/>
                <a:gd name="connsiteY1" fmla="*/ 52864 h 381000"/>
                <a:gd name="connsiteX2" fmla="*/ 229076 w 314325"/>
                <a:gd name="connsiteY2" fmla="*/ 19526 h 381000"/>
                <a:gd name="connsiteX3" fmla="*/ 155734 w 314325"/>
                <a:gd name="connsiteY3" fmla="*/ 7144 h 381000"/>
                <a:gd name="connsiteX4" fmla="*/ 70009 w 314325"/>
                <a:gd name="connsiteY4" fmla="*/ 13811 h 381000"/>
                <a:gd name="connsiteX5" fmla="*/ 7144 w 314325"/>
                <a:gd name="connsiteY5" fmla="*/ 27146 h 381000"/>
                <a:gd name="connsiteX6" fmla="*/ 7144 w 314325"/>
                <a:gd name="connsiteY6" fmla="*/ 329089 h 381000"/>
                <a:gd name="connsiteX7" fmla="*/ 7144 w 314325"/>
                <a:gd name="connsiteY7" fmla="*/ 329089 h 381000"/>
                <a:gd name="connsiteX8" fmla="*/ 7144 w 314325"/>
                <a:gd name="connsiteY8" fmla="*/ 338614 h 381000"/>
                <a:gd name="connsiteX9" fmla="*/ 44291 w 314325"/>
                <a:gd name="connsiteY9" fmla="*/ 375761 h 381000"/>
                <a:gd name="connsiteX10" fmla="*/ 45244 w 314325"/>
                <a:gd name="connsiteY10" fmla="*/ 375761 h 381000"/>
                <a:gd name="connsiteX11" fmla="*/ 45244 w 314325"/>
                <a:gd name="connsiteY11" fmla="*/ 375761 h 381000"/>
                <a:gd name="connsiteX12" fmla="*/ 90964 w 314325"/>
                <a:gd name="connsiteY12" fmla="*/ 375761 h 381000"/>
                <a:gd name="connsiteX13" fmla="*/ 90964 w 314325"/>
                <a:gd name="connsiteY13" fmla="*/ 84296 h 381000"/>
                <a:gd name="connsiteX14" fmla="*/ 116682 w 314325"/>
                <a:gd name="connsiteY14" fmla="*/ 80486 h 381000"/>
                <a:gd name="connsiteX15" fmla="*/ 150019 w 314325"/>
                <a:gd name="connsiteY15" fmla="*/ 78581 h 381000"/>
                <a:gd name="connsiteX16" fmla="*/ 186214 w 314325"/>
                <a:gd name="connsiteY16" fmla="*/ 84296 h 381000"/>
                <a:gd name="connsiteX17" fmla="*/ 210026 w 314325"/>
                <a:gd name="connsiteY17" fmla="*/ 102394 h 381000"/>
                <a:gd name="connsiteX18" fmla="*/ 222409 w 314325"/>
                <a:gd name="connsiteY18" fmla="*/ 135731 h 381000"/>
                <a:gd name="connsiteX19" fmla="*/ 226219 w 314325"/>
                <a:gd name="connsiteY19" fmla="*/ 185261 h 381000"/>
                <a:gd name="connsiteX20" fmla="*/ 226219 w 314325"/>
                <a:gd name="connsiteY20" fmla="*/ 328136 h 381000"/>
                <a:gd name="connsiteX21" fmla="*/ 226219 w 314325"/>
                <a:gd name="connsiteY21" fmla="*/ 328136 h 381000"/>
                <a:gd name="connsiteX22" fmla="*/ 226219 w 314325"/>
                <a:gd name="connsiteY22" fmla="*/ 337661 h 381000"/>
                <a:gd name="connsiteX23" fmla="*/ 263366 w 314325"/>
                <a:gd name="connsiteY23" fmla="*/ 374809 h 381000"/>
                <a:gd name="connsiteX24" fmla="*/ 263366 w 314325"/>
                <a:gd name="connsiteY24" fmla="*/ 374809 h 381000"/>
                <a:gd name="connsiteX25" fmla="*/ 310039 w 314325"/>
                <a:gd name="connsiteY25" fmla="*/ 374809 h 381000"/>
                <a:gd name="connsiteX26" fmla="*/ 310039 w 314325"/>
                <a:gd name="connsiteY26" fmla="*/ 172879 h 381000"/>
                <a:gd name="connsiteX27" fmla="*/ 300514 w 314325"/>
                <a:gd name="connsiteY27" fmla="*/ 105251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14325" h="381000">
                  <a:moveTo>
                    <a:pt x="300514" y="105251"/>
                  </a:moveTo>
                  <a:cubicBezTo>
                    <a:pt x="295751" y="85249"/>
                    <a:pt x="287179" y="67151"/>
                    <a:pt x="275749" y="52864"/>
                  </a:cubicBezTo>
                  <a:cubicBezTo>
                    <a:pt x="264319" y="38576"/>
                    <a:pt x="248126" y="27146"/>
                    <a:pt x="229076" y="19526"/>
                  </a:cubicBezTo>
                  <a:cubicBezTo>
                    <a:pt x="209074" y="11906"/>
                    <a:pt x="185261" y="7144"/>
                    <a:pt x="155734" y="7144"/>
                  </a:cubicBezTo>
                  <a:cubicBezTo>
                    <a:pt x="124301" y="7144"/>
                    <a:pt x="95726" y="9049"/>
                    <a:pt x="70009" y="13811"/>
                  </a:cubicBezTo>
                  <a:cubicBezTo>
                    <a:pt x="44291" y="17621"/>
                    <a:pt x="23336" y="22384"/>
                    <a:pt x="7144" y="27146"/>
                  </a:cubicBezTo>
                  <a:lnTo>
                    <a:pt x="7144" y="329089"/>
                  </a:lnTo>
                  <a:lnTo>
                    <a:pt x="7144" y="329089"/>
                  </a:lnTo>
                  <a:lnTo>
                    <a:pt x="7144" y="338614"/>
                  </a:lnTo>
                  <a:cubicBezTo>
                    <a:pt x="7144" y="358616"/>
                    <a:pt x="23336" y="375761"/>
                    <a:pt x="44291" y="375761"/>
                  </a:cubicBezTo>
                  <a:lnTo>
                    <a:pt x="45244" y="375761"/>
                  </a:lnTo>
                  <a:lnTo>
                    <a:pt x="45244" y="375761"/>
                  </a:lnTo>
                  <a:lnTo>
                    <a:pt x="90964" y="375761"/>
                  </a:lnTo>
                  <a:lnTo>
                    <a:pt x="90964" y="84296"/>
                  </a:lnTo>
                  <a:cubicBezTo>
                    <a:pt x="96679" y="83344"/>
                    <a:pt x="105251" y="82391"/>
                    <a:pt x="116682" y="80486"/>
                  </a:cubicBezTo>
                  <a:cubicBezTo>
                    <a:pt x="128111" y="79534"/>
                    <a:pt x="139541" y="78581"/>
                    <a:pt x="150019" y="78581"/>
                  </a:cubicBezTo>
                  <a:cubicBezTo>
                    <a:pt x="164307" y="78581"/>
                    <a:pt x="176689" y="80486"/>
                    <a:pt x="186214" y="84296"/>
                  </a:cubicBezTo>
                  <a:cubicBezTo>
                    <a:pt x="195739" y="88106"/>
                    <a:pt x="204311" y="94774"/>
                    <a:pt x="210026" y="102394"/>
                  </a:cubicBezTo>
                  <a:cubicBezTo>
                    <a:pt x="215741" y="110966"/>
                    <a:pt x="219551" y="121444"/>
                    <a:pt x="222409" y="135731"/>
                  </a:cubicBezTo>
                  <a:cubicBezTo>
                    <a:pt x="225266" y="149066"/>
                    <a:pt x="226219" y="165259"/>
                    <a:pt x="226219" y="185261"/>
                  </a:cubicBezTo>
                  <a:lnTo>
                    <a:pt x="226219" y="328136"/>
                  </a:lnTo>
                  <a:lnTo>
                    <a:pt x="226219" y="328136"/>
                  </a:lnTo>
                  <a:lnTo>
                    <a:pt x="226219" y="337661"/>
                  </a:lnTo>
                  <a:cubicBezTo>
                    <a:pt x="226219" y="357664"/>
                    <a:pt x="242411" y="374809"/>
                    <a:pt x="263366" y="374809"/>
                  </a:cubicBezTo>
                  <a:lnTo>
                    <a:pt x="263366" y="374809"/>
                  </a:lnTo>
                  <a:lnTo>
                    <a:pt x="310039" y="374809"/>
                  </a:lnTo>
                  <a:lnTo>
                    <a:pt x="310039" y="172879"/>
                  </a:lnTo>
                  <a:cubicBezTo>
                    <a:pt x="308134" y="148114"/>
                    <a:pt x="305276" y="126206"/>
                    <a:pt x="300514" y="1052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8" name="Freeform: Shape 8">
              <a:extLst>
                <a:ext uri="{FF2B5EF4-FFF2-40B4-BE49-F238E27FC236}">
                  <a16:creationId xmlns:a16="http://schemas.microsoft.com/office/drawing/2014/main" id="{72E4B802-B9FC-C4B5-1744-904FF967CB4F}"/>
                </a:ext>
              </a:extLst>
            </p:cNvPr>
            <p:cNvSpPr/>
            <p:nvPr/>
          </p:nvSpPr>
          <p:spPr>
            <a:xfrm>
              <a:off x="8331989" y="1464782"/>
              <a:ext cx="314325" cy="381000"/>
            </a:xfrm>
            <a:custGeom>
              <a:avLst/>
              <a:gdLst>
                <a:gd name="connsiteX0" fmla="*/ 300514 w 314325"/>
                <a:gd name="connsiteY0" fmla="*/ 105251 h 381000"/>
                <a:gd name="connsiteX1" fmla="*/ 275749 w 314325"/>
                <a:gd name="connsiteY1" fmla="*/ 52864 h 381000"/>
                <a:gd name="connsiteX2" fmla="*/ 229076 w 314325"/>
                <a:gd name="connsiteY2" fmla="*/ 19526 h 381000"/>
                <a:gd name="connsiteX3" fmla="*/ 155734 w 314325"/>
                <a:gd name="connsiteY3" fmla="*/ 7144 h 381000"/>
                <a:gd name="connsiteX4" fmla="*/ 70009 w 314325"/>
                <a:gd name="connsiteY4" fmla="*/ 13811 h 381000"/>
                <a:gd name="connsiteX5" fmla="*/ 7144 w 314325"/>
                <a:gd name="connsiteY5" fmla="*/ 27146 h 381000"/>
                <a:gd name="connsiteX6" fmla="*/ 7144 w 314325"/>
                <a:gd name="connsiteY6" fmla="*/ 329089 h 381000"/>
                <a:gd name="connsiteX7" fmla="*/ 7144 w 314325"/>
                <a:gd name="connsiteY7" fmla="*/ 329089 h 381000"/>
                <a:gd name="connsiteX8" fmla="*/ 7144 w 314325"/>
                <a:gd name="connsiteY8" fmla="*/ 338614 h 381000"/>
                <a:gd name="connsiteX9" fmla="*/ 44291 w 314325"/>
                <a:gd name="connsiteY9" fmla="*/ 375761 h 381000"/>
                <a:gd name="connsiteX10" fmla="*/ 45244 w 314325"/>
                <a:gd name="connsiteY10" fmla="*/ 375761 h 381000"/>
                <a:gd name="connsiteX11" fmla="*/ 45244 w 314325"/>
                <a:gd name="connsiteY11" fmla="*/ 375761 h 381000"/>
                <a:gd name="connsiteX12" fmla="*/ 90964 w 314325"/>
                <a:gd name="connsiteY12" fmla="*/ 375761 h 381000"/>
                <a:gd name="connsiteX13" fmla="*/ 90964 w 314325"/>
                <a:gd name="connsiteY13" fmla="*/ 84296 h 381000"/>
                <a:gd name="connsiteX14" fmla="*/ 116681 w 314325"/>
                <a:gd name="connsiteY14" fmla="*/ 80486 h 381000"/>
                <a:gd name="connsiteX15" fmla="*/ 150019 w 314325"/>
                <a:gd name="connsiteY15" fmla="*/ 78581 h 381000"/>
                <a:gd name="connsiteX16" fmla="*/ 186214 w 314325"/>
                <a:gd name="connsiteY16" fmla="*/ 84296 h 381000"/>
                <a:gd name="connsiteX17" fmla="*/ 210026 w 314325"/>
                <a:gd name="connsiteY17" fmla="*/ 102394 h 381000"/>
                <a:gd name="connsiteX18" fmla="*/ 222409 w 314325"/>
                <a:gd name="connsiteY18" fmla="*/ 135731 h 381000"/>
                <a:gd name="connsiteX19" fmla="*/ 226219 w 314325"/>
                <a:gd name="connsiteY19" fmla="*/ 185261 h 381000"/>
                <a:gd name="connsiteX20" fmla="*/ 226219 w 314325"/>
                <a:gd name="connsiteY20" fmla="*/ 328136 h 381000"/>
                <a:gd name="connsiteX21" fmla="*/ 226219 w 314325"/>
                <a:gd name="connsiteY21" fmla="*/ 328136 h 381000"/>
                <a:gd name="connsiteX22" fmla="*/ 226219 w 314325"/>
                <a:gd name="connsiteY22" fmla="*/ 337661 h 381000"/>
                <a:gd name="connsiteX23" fmla="*/ 263366 w 314325"/>
                <a:gd name="connsiteY23" fmla="*/ 374809 h 381000"/>
                <a:gd name="connsiteX24" fmla="*/ 263366 w 314325"/>
                <a:gd name="connsiteY24" fmla="*/ 374809 h 381000"/>
                <a:gd name="connsiteX25" fmla="*/ 310039 w 314325"/>
                <a:gd name="connsiteY25" fmla="*/ 374809 h 381000"/>
                <a:gd name="connsiteX26" fmla="*/ 310039 w 314325"/>
                <a:gd name="connsiteY26" fmla="*/ 172879 h 381000"/>
                <a:gd name="connsiteX27" fmla="*/ 300514 w 314325"/>
                <a:gd name="connsiteY27" fmla="*/ 105251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14325" h="381000">
                  <a:moveTo>
                    <a:pt x="300514" y="105251"/>
                  </a:moveTo>
                  <a:cubicBezTo>
                    <a:pt x="295751" y="85249"/>
                    <a:pt x="287179" y="67151"/>
                    <a:pt x="275749" y="52864"/>
                  </a:cubicBezTo>
                  <a:cubicBezTo>
                    <a:pt x="264319" y="38576"/>
                    <a:pt x="248126" y="27146"/>
                    <a:pt x="229076" y="19526"/>
                  </a:cubicBezTo>
                  <a:cubicBezTo>
                    <a:pt x="209074" y="11906"/>
                    <a:pt x="185261" y="7144"/>
                    <a:pt x="155734" y="7144"/>
                  </a:cubicBezTo>
                  <a:cubicBezTo>
                    <a:pt x="124301" y="7144"/>
                    <a:pt x="95726" y="9049"/>
                    <a:pt x="70009" y="13811"/>
                  </a:cubicBezTo>
                  <a:cubicBezTo>
                    <a:pt x="44291" y="17621"/>
                    <a:pt x="23336" y="22384"/>
                    <a:pt x="7144" y="27146"/>
                  </a:cubicBezTo>
                  <a:lnTo>
                    <a:pt x="7144" y="329089"/>
                  </a:lnTo>
                  <a:lnTo>
                    <a:pt x="7144" y="329089"/>
                  </a:lnTo>
                  <a:lnTo>
                    <a:pt x="7144" y="338614"/>
                  </a:lnTo>
                  <a:cubicBezTo>
                    <a:pt x="7144" y="358616"/>
                    <a:pt x="23336" y="375761"/>
                    <a:pt x="44291" y="375761"/>
                  </a:cubicBezTo>
                  <a:lnTo>
                    <a:pt x="45244" y="375761"/>
                  </a:lnTo>
                  <a:lnTo>
                    <a:pt x="45244" y="375761"/>
                  </a:lnTo>
                  <a:lnTo>
                    <a:pt x="90964" y="375761"/>
                  </a:lnTo>
                  <a:lnTo>
                    <a:pt x="90964" y="84296"/>
                  </a:lnTo>
                  <a:cubicBezTo>
                    <a:pt x="96679" y="83344"/>
                    <a:pt x="105251" y="82391"/>
                    <a:pt x="116681" y="80486"/>
                  </a:cubicBezTo>
                  <a:cubicBezTo>
                    <a:pt x="128111" y="79534"/>
                    <a:pt x="139541" y="78581"/>
                    <a:pt x="150019" y="78581"/>
                  </a:cubicBezTo>
                  <a:cubicBezTo>
                    <a:pt x="164306" y="78581"/>
                    <a:pt x="176689" y="80486"/>
                    <a:pt x="186214" y="84296"/>
                  </a:cubicBezTo>
                  <a:cubicBezTo>
                    <a:pt x="195739" y="88106"/>
                    <a:pt x="204311" y="94774"/>
                    <a:pt x="210026" y="102394"/>
                  </a:cubicBezTo>
                  <a:cubicBezTo>
                    <a:pt x="215741" y="110966"/>
                    <a:pt x="219551" y="121444"/>
                    <a:pt x="222409" y="135731"/>
                  </a:cubicBezTo>
                  <a:cubicBezTo>
                    <a:pt x="225266" y="149066"/>
                    <a:pt x="226219" y="165259"/>
                    <a:pt x="226219" y="185261"/>
                  </a:cubicBezTo>
                  <a:lnTo>
                    <a:pt x="226219" y="328136"/>
                  </a:lnTo>
                  <a:lnTo>
                    <a:pt x="226219" y="328136"/>
                  </a:lnTo>
                  <a:lnTo>
                    <a:pt x="226219" y="337661"/>
                  </a:lnTo>
                  <a:cubicBezTo>
                    <a:pt x="226219" y="357664"/>
                    <a:pt x="242411" y="374809"/>
                    <a:pt x="263366" y="374809"/>
                  </a:cubicBezTo>
                  <a:lnTo>
                    <a:pt x="263366" y="374809"/>
                  </a:lnTo>
                  <a:lnTo>
                    <a:pt x="310039" y="374809"/>
                  </a:lnTo>
                  <a:lnTo>
                    <a:pt x="310039" y="172879"/>
                  </a:lnTo>
                  <a:cubicBezTo>
                    <a:pt x="307181" y="148114"/>
                    <a:pt x="305276" y="126206"/>
                    <a:pt x="300514" y="1052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0" name="Freeform: Shape 17">
              <a:extLst>
                <a:ext uri="{FF2B5EF4-FFF2-40B4-BE49-F238E27FC236}">
                  <a16:creationId xmlns:a16="http://schemas.microsoft.com/office/drawing/2014/main" id="{F5495405-905D-1A9C-A764-9F140546979E}"/>
                </a:ext>
              </a:extLst>
            </p:cNvPr>
            <p:cNvSpPr/>
            <p:nvPr/>
          </p:nvSpPr>
          <p:spPr>
            <a:xfrm>
              <a:off x="6619395" y="1521933"/>
              <a:ext cx="457199" cy="371475"/>
            </a:xfrm>
            <a:custGeom>
              <a:avLst/>
              <a:gdLst>
                <a:gd name="connsiteX0" fmla="*/ 304324 w 457200"/>
                <a:gd name="connsiteY0" fmla="*/ 261461 h 371475"/>
                <a:gd name="connsiteX1" fmla="*/ 456724 w 457200"/>
                <a:gd name="connsiteY1" fmla="*/ 110014 h 371475"/>
                <a:gd name="connsiteX2" fmla="*/ 344329 w 457200"/>
                <a:gd name="connsiteY2" fmla="*/ 7144 h 371475"/>
                <a:gd name="connsiteX3" fmla="*/ 125254 w 457200"/>
                <a:gd name="connsiteY3" fmla="*/ 241459 h 371475"/>
                <a:gd name="connsiteX4" fmla="*/ 7144 w 457200"/>
                <a:gd name="connsiteY4" fmla="*/ 348139 h 371475"/>
                <a:gd name="connsiteX5" fmla="*/ 96679 w 457200"/>
                <a:gd name="connsiteY5" fmla="*/ 372904 h 371475"/>
                <a:gd name="connsiteX6" fmla="*/ 306229 w 457200"/>
                <a:gd name="connsiteY6" fmla="*/ 304324 h 371475"/>
                <a:gd name="connsiteX7" fmla="*/ 200501 w 457200"/>
                <a:gd name="connsiteY7" fmla="*/ 210026 h 371475"/>
                <a:gd name="connsiteX8" fmla="*/ 304324 w 457200"/>
                <a:gd name="connsiteY8" fmla="*/ 26146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7200" h="371475">
                  <a:moveTo>
                    <a:pt x="304324" y="261461"/>
                  </a:moveTo>
                  <a:cubicBezTo>
                    <a:pt x="390049" y="261461"/>
                    <a:pt x="455771" y="191929"/>
                    <a:pt x="456724" y="110014"/>
                  </a:cubicBezTo>
                  <a:cubicBezTo>
                    <a:pt x="451009" y="73819"/>
                    <a:pt x="438626" y="7144"/>
                    <a:pt x="344329" y="7144"/>
                  </a:cubicBezTo>
                  <a:cubicBezTo>
                    <a:pt x="242411" y="7144"/>
                    <a:pt x="208121" y="150019"/>
                    <a:pt x="125254" y="241459"/>
                  </a:cubicBezTo>
                  <a:cubicBezTo>
                    <a:pt x="118586" y="293846"/>
                    <a:pt x="69056" y="340519"/>
                    <a:pt x="7144" y="348139"/>
                  </a:cubicBezTo>
                  <a:cubicBezTo>
                    <a:pt x="22384" y="364331"/>
                    <a:pt x="55721" y="372904"/>
                    <a:pt x="96679" y="372904"/>
                  </a:cubicBezTo>
                  <a:cubicBezTo>
                    <a:pt x="170021" y="372904"/>
                    <a:pt x="259556" y="350996"/>
                    <a:pt x="306229" y="304324"/>
                  </a:cubicBezTo>
                  <a:cubicBezTo>
                    <a:pt x="244316" y="305276"/>
                    <a:pt x="204311" y="265271"/>
                    <a:pt x="200501" y="210026"/>
                  </a:cubicBezTo>
                  <a:cubicBezTo>
                    <a:pt x="230029" y="247174"/>
                    <a:pt x="264319" y="261461"/>
                    <a:pt x="304324" y="261461"/>
                  </a:cubicBezTo>
                  <a:close/>
                </a:path>
              </a:pathLst>
            </a:custGeom>
            <a:solidFill>
              <a:srgbClr val="17ABDB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1" name="Freeform: Shape 22">
              <a:extLst>
                <a:ext uri="{FF2B5EF4-FFF2-40B4-BE49-F238E27FC236}">
                  <a16:creationId xmlns:a16="http://schemas.microsoft.com/office/drawing/2014/main" id="{A34644FF-D3B8-3931-1413-0014424B7618}"/>
                </a:ext>
              </a:extLst>
            </p:cNvPr>
            <p:cNvSpPr/>
            <p:nvPr/>
          </p:nvSpPr>
          <p:spPr>
            <a:xfrm>
              <a:off x="3176111" y="1268567"/>
              <a:ext cx="3171823" cy="866776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2" name="Freeform: Shape 23">
              <a:extLst>
                <a:ext uri="{FF2B5EF4-FFF2-40B4-BE49-F238E27FC236}">
                  <a16:creationId xmlns:a16="http://schemas.microsoft.com/office/drawing/2014/main" id="{9CD68BCB-AC09-AF89-87C2-25EEEB5F0F73}"/>
                </a:ext>
              </a:extLst>
            </p:cNvPr>
            <p:cNvSpPr/>
            <p:nvPr/>
          </p:nvSpPr>
          <p:spPr>
            <a:xfrm>
              <a:off x="5565899" y="1311398"/>
              <a:ext cx="95250" cy="104775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3" name="Freeform: Shape 24">
              <a:extLst>
                <a:ext uri="{FF2B5EF4-FFF2-40B4-BE49-F238E27FC236}">
                  <a16:creationId xmlns:a16="http://schemas.microsoft.com/office/drawing/2014/main" id="{97DDB8DE-4F3D-2E70-4956-74773F6BFA10}"/>
                </a:ext>
              </a:extLst>
            </p:cNvPr>
            <p:cNvSpPr/>
            <p:nvPr/>
          </p:nvSpPr>
          <p:spPr>
            <a:xfrm>
              <a:off x="6186959" y="1329492"/>
              <a:ext cx="95250" cy="95250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4" name="Freeform: Shape 25">
              <a:extLst>
                <a:ext uri="{FF2B5EF4-FFF2-40B4-BE49-F238E27FC236}">
                  <a16:creationId xmlns:a16="http://schemas.microsoft.com/office/drawing/2014/main" id="{88F4554B-CA3E-F381-9204-859F551BE7BA}"/>
                </a:ext>
              </a:extLst>
            </p:cNvPr>
            <p:cNvSpPr/>
            <p:nvPr/>
          </p:nvSpPr>
          <p:spPr>
            <a:xfrm>
              <a:off x="6386989" y="1257136"/>
              <a:ext cx="695324" cy="581025"/>
            </a:xfrm>
            <a:custGeom>
              <a:avLst/>
              <a:gdLst>
                <a:gd name="connsiteX0" fmla="*/ 689134 w 695325"/>
                <a:gd name="connsiteY0" fmla="*/ 368141 h 581025"/>
                <a:gd name="connsiteX1" fmla="*/ 571024 w 695325"/>
                <a:gd name="connsiteY1" fmla="*/ 127159 h 581025"/>
                <a:gd name="connsiteX2" fmla="*/ 388144 w 695325"/>
                <a:gd name="connsiteY2" fmla="*/ 13811 h 581025"/>
                <a:gd name="connsiteX3" fmla="*/ 371951 w 695325"/>
                <a:gd name="connsiteY3" fmla="*/ 7144 h 581025"/>
                <a:gd name="connsiteX4" fmla="*/ 371951 w 695325"/>
                <a:gd name="connsiteY4" fmla="*/ 7144 h 581025"/>
                <a:gd name="connsiteX5" fmla="*/ 371951 w 695325"/>
                <a:gd name="connsiteY5" fmla="*/ 7144 h 581025"/>
                <a:gd name="connsiteX6" fmla="*/ 7144 w 695325"/>
                <a:gd name="connsiteY6" fmla="*/ 383381 h 581025"/>
                <a:gd name="connsiteX7" fmla="*/ 132874 w 695325"/>
                <a:gd name="connsiteY7" fmla="*/ 569119 h 581025"/>
                <a:gd name="connsiteX8" fmla="*/ 262414 w 695325"/>
                <a:gd name="connsiteY8" fmla="*/ 571976 h 581025"/>
                <a:gd name="connsiteX9" fmla="*/ 358616 w 695325"/>
                <a:gd name="connsiteY9" fmla="*/ 506254 h 581025"/>
                <a:gd name="connsiteX10" fmla="*/ 577692 w 695325"/>
                <a:gd name="connsiteY10" fmla="*/ 271939 h 581025"/>
                <a:gd name="connsiteX11" fmla="*/ 690086 w 695325"/>
                <a:gd name="connsiteY11" fmla="*/ 374809 h 581025"/>
                <a:gd name="connsiteX12" fmla="*/ 689134 w 695325"/>
                <a:gd name="connsiteY12" fmla="*/ 368141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95325" h="581025">
                  <a:moveTo>
                    <a:pt x="689134" y="368141"/>
                  </a:moveTo>
                  <a:cubicBezTo>
                    <a:pt x="687229" y="271939"/>
                    <a:pt x="641509" y="191929"/>
                    <a:pt x="571024" y="127159"/>
                  </a:cubicBezTo>
                  <a:cubicBezTo>
                    <a:pt x="517684" y="78581"/>
                    <a:pt x="453866" y="41434"/>
                    <a:pt x="388144" y="13811"/>
                  </a:cubicBezTo>
                  <a:cubicBezTo>
                    <a:pt x="382429" y="11906"/>
                    <a:pt x="377666" y="9049"/>
                    <a:pt x="371951" y="7144"/>
                  </a:cubicBezTo>
                  <a:lnTo>
                    <a:pt x="371951" y="7144"/>
                  </a:lnTo>
                  <a:cubicBezTo>
                    <a:pt x="371951" y="7144"/>
                    <a:pt x="371951" y="7144"/>
                    <a:pt x="371951" y="7144"/>
                  </a:cubicBezTo>
                  <a:cubicBezTo>
                    <a:pt x="290036" y="105251"/>
                    <a:pt x="7144" y="178594"/>
                    <a:pt x="7144" y="383381"/>
                  </a:cubicBezTo>
                  <a:cubicBezTo>
                    <a:pt x="7144" y="463391"/>
                    <a:pt x="57626" y="538639"/>
                    <a:pt x="132874" y="569119"/>
                  </a:cubicBezTo>
                  <a:cubicBezTo>
                    <a:pt x="175736" y="585311"/>
                    <a:pt x="219551" y="586264"/>
                    <a:pt x="262414" y="571976"/>
                  </a:cubicBezTo>
                  <a:cubicBezTo>
                    <a:pt x="300514" y="559594"/>
                    <a:pt x="332899" y="535781"/>
                    <a:pt x="358616" y="506254"/>
                  </a:cubicBezTo>
                  <a:cubicBezTo>
                    <a:pt x="441484" y="413861"/>
                    <a:pt x="475774" y="271939"/>
                    <a:pt x="577692" y="271939"/>
                  </a:cubicBezTo>
                  <a:cubicBezTo>
                    <a:pt x="671036" y="271939"/>
                    <a:pt x="683419" y="338614"/>
                    <a:pt x="690086" y="374809"/>
                  </a:cubicBezTo>
                  <a:cubicBezTo>
                    <a:pt x="689134" y="373856"/>
                    <a:pt x="689134" y="371951"/>
                    <a:pt x="689134" y="36814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539679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ark and Pictur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8">
            <a:extLst>
              <a:ext uri="{FF2B5EF4-FFF2-40B4-BE49-F238E27FC236}">
                <a16:creationId xmlns:a16="http://schemas.microsoft.com/office/drawing/2014/main" id="{D3B1FE99-E8D3-C5FE-4E44-4E4EF67B45D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1" y="908721"/>
            <a:ext cx="6096000" cy="5949280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Insert Picture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1B342561-1DD2-4DA7-BA2A-C8E3856FE9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692696"/>
            <a:ext cx="4751907" cy="720179"/>
          </a:xfrm>
        </p:spPr>
        <p:txBody>
          <a:bodyPr vert="horz" lIns="0" tIns="0" rIns="0" bIns="0" rtlCol="0" anchor="b">
            <a:noAutofit/>
          </a:bodyPr>
          <a:lstStyle>
            <a:lvl1pPr>
              <a:lnSpc>
                <a:spcPct val="80000"/>
              </a:lnSpc>
              <a:defRPr lang="en-GB" sz="3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Agenda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C6DF15B-7249-491B-BFB7-9A33784178C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7988" y="1916832"/>
            <a:ext cx="5471988" cy="4536356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200"/>
              </a:spcBef>
              <a:defRPr sz="18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75948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119069D-5D68-4DB4-B45F-92CCC710785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94570" y="1628775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AA1A2157-04CD-44FC-8492-E3FAFE326F1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94570" y="2221388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199E21EB-D052-4206-952C-D3FE77AA1C8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794570" y="2814001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9AA932A-4442-4987-878D-3B69D84A47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79500" y="1628775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/>
              <a:t>0x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EAA65ABF-5E47-4A8A-934B-E9458D034F7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79500" y="2221388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/>
              <a:t>0x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AE370511-ABDA-4008-B938-10F0105CBF6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79500" y="2814001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/>
              <a:t>0x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CABD3DEA-D9AC-49A6-AB02-7A5380BF518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794570" y="3406614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C143C05F-5CEC-4DA0-8030-D7B2370EBBB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794570" y="3999227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96B43F80-D448-432F-A45D-FE4715923FC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794570" y="4591841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C434EB54-C0D1-4857-9330-87FAFCC49D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79500" y="3406614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/>
              <a:t>0x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F0320016-4C9A-409B-8724-E53F23529A4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79500" y="3999227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/>
              <a:t>0x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F0279A3C-5E27-40F7-98C0-08832F4CE1F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79500" y="4591841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/>
              <a:t>0x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08BAF09-C52E-54E6-E538-78C64D8AB5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9321" y="260350"/>
            <a:ext cx="8640763" cy="7921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Picture 16">
            <a:extLst>
              <a:ext uri="{FF2B5EF4-FFF2-40B4-BE49-F238E27FC236}">
                <a16:creationId xmlns:a16="http://schemas.microsoft.com/office/drawing/2014/main" id="{21B52807-7673-5576-DEE4-0A88870C0C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95800" y="1700808"/>
            <a:ext cx="828135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9941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749D2F3-3C15-428F-AF70-D31974E2F3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52613" y="3199768"/>
            <a:ext cx="9079459" cy="3532255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119069D-5D68-4DB4-B45F-92CCC710785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94570" y="1628775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AA1A2157-04CD-44FC-8492-E3FAFE326F1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94570" y="2221388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199E21EB-D052-4206-952C-D3FE77AA1C8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794570" y="2814001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9AA932A-4442-4987-878D-3B69D84A47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79500" y="1628775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/>
              <a:t>0x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EAA65ABF-5E47-4A8A-934B-E9458D034F7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79500" y="2221388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/>
              <a:t>0x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AE370511-ABDA-4008-B938-10F0105CBF6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79500" y="2814001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/>
              <a:t>0x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CABD3DEA-D9AC-49A6-AB02-7A5380BF518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794570" y="3406614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C143C05F-5CEC-4DA0-8030-D7B2370EBBB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794570" y="3999227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96B43F80-D448-432F-A45D-FE4715923FC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794570" y="4591841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C434EB54-C0D1-4857-9330-87FAFCC49D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79500" y="3406614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/>
              <a:t>0x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F0320016-4C9A-409B-8724-E53F23529A4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79500" y="3999227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/>
              <a:t>0x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F0279A3C-5E27-40F7-98C0-08832F4CE1F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79500" y="4591841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/>
              <a:t>0x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14BB18C-C624-35CB-514D-CE1A312E0B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9321" y="260350"/>
            <a:ext cx="8640763" cy="79216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98690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bg>
      <p:bgPr>
        <a:gradFill flip="none" rotWithShape="1"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">
            <a:extLst>
              <a:ext uri="{FF2B5EF4-FFF2-40B4-BE49-F238E27FC236}">
                <a16:creationId xmlns:a16="http://schemas.microsoft.com/office/drawing/2014/main" id="{263427DF-DAE9-5C4C-6A1A-438ED4F5219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68" y="5457155"/>
            <a:ext cx="11090276" cy="246221"/>
          </a:xfrm>
          <a:prstGeom prst="rect">
            <a:avLst/>
          </a:prstGeom>
        </p:spPr>
        <p:txBody>
          <a:bodyPr wrap="square" lIns="18000" tIns="0" rIns="0" anchor="b" anchorCtr="0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AAC7C66-F303-132A-295B-65A79300A34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368" y="4697327"/>
            <a:ext cx="11090276" cy="747897"/>
          </a:xfr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75AF5888-BD34-41EB-546E-BE945F03BA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3429336" y="25029"/>
            <a:ext cx="8715336" cy="7220395"/>
          </a:xfrm>
          <a:prstGeom prst="rect">
            <a:avLst/>
          </a:prstGeom>
        </p:spPr>
      </p:pic>
      <p:pic>
        <p:nvPicPr>
          <p:cNvPr id="6" name="Graphique 5">
            <a:extLst>
              <a:ext uri="{FF2B5EF4-FFF2-40B4-BE49-F238E27FC236}">
                <a16:creationId xmlns:a16="http://schemas.microsoft.com/office/drawing/2014/main" id="{62971821-4041-E15C-FC0D-85A8A39C84D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2694" y="5975962"/>
            <a:ext cx="2988000" cy="453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6790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>
        <p15:guide id="2" pos="7423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119069D-5D68-4DB4-B45F-92CCC710785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951984" y="1628775"/>
            <a:ext cx="5813598" cy="369332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AA1A2157-04CD-44FC-8492-E3FAFE326F1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951984" y="2221388"/>
            <a:ext cx="5813598" cy="369332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199E21EB-D052-4206-952C-D3FE77AA1C8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951984" y="2814001"/>
            <a:ext cx="5813598" cy="369332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CABD3DEA-D9AC-49A6-AB02-7A5380BF518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951984" y="3406614"/>
            <a:ext cx="5813598" cy="369332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C143C05F-5CEC-4DA0-8030-D7B2370EBBB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951984" y="3999227"/>
            <a:ext cx="5813598" cy="369332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96B43F80-D448-432F-A45D-FE4715923FC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951984" y="4591841"/>
            <a:ext cx="5813598" cy="369332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14BB18C-C624-35CB-514D-CE1A312E0B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565" y="260350"/>
            <a:ext cx="8640763" cy="79216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id="{5449900E-987A-B10E-123E-7DC13509743D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0" y="1268413"/>
            <a:ext cx="5519738" cy="511333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CE129A54-4331-295F-FFF7-AADCD886AE6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951984" y="5184455"/>
            <a:ext cx="5813598" cy="369332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21F960EB-6EA4-9123-ED77-13467723FA2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951984" y="5777069"/>
            <a:ext cx="5813598" cy="369332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pPr lvl="0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62106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:a16="http://schemas.microsoft.com/office/drawing/2014/main" id="{6CCF694C-872E-0362-0664-84FE017FBD57}"/>
              </a:ext>
            </a:extLst>
          </p:cNvPr>
          <p:cNvSpPr/>
          <p:nvPr userDrawn="1"/>
        </p:nvSpPr>
        <p:spPr>
          <a:xfrm>
            <a:off x="-24680" y="1484784"/>
            <a:ext cx="5735960" cy="5373217"/>
          </a:xfrm>
          <a:prstGeom prst="rect">
            <a:avLst/>
          </a:prstGeom>
          <a:solidFill>
            <a:srgbClr val="173340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119069D-5D68-4DB4-B45F-92CCC710785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7565" y="1863702"/>
            <a:ext cx="4968355" cy="369332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AA1A2157-04CD-44FC-8492-E3FAFE326F1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07565" y="2456315"/>
            <a:ext cx="4968355" cy="369332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199E21EB-D052-4206-952C-D3FE77AA1C8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07565" y="3048928"/>
            <a:ext cx="4968355" cy="369332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CABD3DEA-D9AC-49A6-AB02-7A5380BF518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07565" y="3641541"/>
            <a:ext cx="4968355" cy="369332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C143C05F-5CEC-4DA0-8030-D7B2370EBBB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07565" y="4234154"/>
            <a:ext cx="4968355" cy="369332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96B43F80-D448-432F-A45D-FE4715923FC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07565" y="4826768"/>
            <a:ext cx="4968355" cy="369332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14BB18C-C624-35CB-514D-CE1A312E0B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565" y="260350"/>
            <a:ext cx="5472411" cy="79216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CE129A54-4331-295F-FFF7-AADCD886AE6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07565" y="5419382"/>
            <a:ext cx="4968355" cy="369332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21F960EB-6EA4-9123-ED77-13467723FA2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07565" y="6011996"/>
            <a:ext cx="4968355" cy="369332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5453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 Page">
    <p:bg>
      <p:bgPr>
        <a:gradFill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9F09D0F-E907-3A0B-CF17-D622F6756C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776" y="588210"/>
            <a:ext cx="8281358" cy="685800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2F5917D-61BC-41CF-A3CC-DAE6954137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19536" y="1556792"/>
            <a:ext cx="648072" cy="648072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>
              <a:defRPr lang="en-US" sz="3200" b="1" cap="none" spc="300" baseline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01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0E372CD-CFED-4FF2-90F5-6A7F33D9AB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83632" y="1556792"/>
            <a:ext cx="8863408" cy="648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defRPr sz="3200">
                <a:solidFill>
                  <a:schemeClr val="bg1"/>
                </a:solidFill>
              </a:defRPr>
            </a:lvl2pPr>
            <a:lvl3pPr>
              <a:defRPr sz="3200">
                <a:solidFill>
                  <a:schemeClr val="bg1"/>
                </a:solidFill>
              </a:defRPr>
            </a:lvl3pPr>
            <a:lvl4pPr>
              <a:defRPr sz="3200">
                <a:solidFill>
                  <a:schemeClr val="bg1"/>
                </a:solidFill>
              </a:defRPr>
            </a:lvl4pPr>
            <a:lvl5pPr>
              <a:defRPr sz="3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grpSp>
        <p:nvGrpSpPr>
          <p:cNvPr id="3" name="Group 37">
            <a:extLst>
              <a:ext uri="{FF2B5EF4-FFF2-40B4-BE49-F238E27FC236}">
                <a16:creationId xmlns:a16="http://schemas.microsoft.com/office/drawing/2014/main" id="{5AD1E928-17A7-8076-E72F-603525614D7F}"/>
              </a:ext>
            </a:extLst>
          </p:cNvPr>
          <p:cNvGrpSpPr/>
          <p:nvPr userDrawn="1"/>
        </p:nvGrpSpPr>
        <p:grpSpPr>
          <a:xfrm>
            <a:off x="11501102" y="171573"/>
            <a:ext cx="419436" cy="388087"/>
            <a:chOff x="5481638" y="2859088"/>
            <a:chExt cx="1231900" cy="1139825"/>
          </a:xfrm>
          <a:solidFill>
            <a:schemeClr val="bg1"/>
          </a:solidFill>
        </p:grpSpPr>
        <p:sp>
          <p:nvSpPr>
            <p:cNvPr id="4" name="Freeform 320">
              <a:extLst>
                <a:ext uri="{FF2B5EF4-FFF2-40B4-BE49-F238E27FC236}">
                  <a16:creationId xmlns:a16="http://schemas.microsoft.com/office/drawing/2014/main" id="{A4C59602-5684-DA3C-4D8A-30F7343DD0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1638" y="2859088"/>
              <a:ext cx="1203325" cy="1041400"/>
            </a:xfrm>
            <a:custGeom>
              <a:avLst/>
              <a:gdLst>
                <a:gd name="T0" fmla="*/ 229 w 281"/>
                <a:gd name="T1" fmla="*/ 105 h 243"/>
                <a:gd name="T2" fmla="*/ 186 w 281"/>
                <a:gd name="T3" fmla="*/ 141 h 243"/>
                <a:gd name="T4" fmla="*/ 154 w 281"/>
                <a:gd name="T5" fmla="*/ 194 h 243"/>
                <a:gd name="T6" fmla="*/ 112 w 281"/>
                <a:gd name="T7" fmla="*/ 233 h 243"/>
                <a:gd name="T8" fmla="*/ 53 w 281"/>
                <a:gd name="T9" fmla="*/ 236 h 243"/>
                <a:gd name="T10" fmla="*/ 0 w 281"/>
                <a:gd name="T11" fmla="*/ 159 h 243"/>
                <a:gd name="T12" fmla="*/ 153 w 281"/>
                <a:gd name="T13" fmla="*/ 0 h 243"/>
                <a:gd name="T14" fmla="*/ 153 w 281"/>
                <a:gd name="T15" fmla="*/ 0 h 243"/>
                <a:gd name="T16" fmla="*/ 160 w 281"/>
                <a:gd name="T17" fmla="*/ 3 h 243"/>
                <a:gd name="T18" fmla="*/ 237 w 281"/>
                <a:gd name="T19" fmla="*/ 51 h 243"/>
                <a:gd name="T20" fmla="*/ 281 w 281"/>
                <a:gd name="T21" fmla="*/ 118 h 243"/>
                <a:gd name="T22" fmla="*/ 229 w 281"/>
                <a:gd name="T23" fmla="*/ 10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1" h="243">
                  <a:moveTo>
                    <a:pt x="229" y="105"/>
                  </a:moveTo>
                  <a:cubicBezTo>
                    <a:pt x="210" y="109"/>
                    <a:pt x="196" y="125"/>
                    <a:pt x="186" y="141"/>
                  </a:cubicBezTo>
                  <a:cubicBezTo>
                    <a:pt x="175" y="159"/>
                    <a:pt x="166" y="177"/>
                    <a:pt x="154" y="194"/>
                  </a:cubicBezTo>
                  <a:cubicBezTo>
                    <a:pt x="143" y="211"/>
                    <a:pt x="130" y="225"/>
                    <a:pt x="112" y="233"/>
                  </a:cubicBezTo>
                  <a:cubicBezTo>
                    <a:pt x="93" y="242"/>
                    <a:pt x="72" y="243"/>
                    <a:pt x="53" y="236"/>
                  </a:cubicBezTo>
                  <a:cubicBezTo>
                    <a:pt x="21" y="224"/>
                    <a:pt x="0" y="192"/>
                    <a:pt x="0" y="159"/>
                  </a:cubicBezTo>
                  <a:cubicBezTo>
                    <a:pt x="0" y="72"/>
                    <a:pt x="119" y="42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55" y="1"/>
                    <a:pt x="158" y="2"/>
                    <a:pt x="160" y="3"/>
                  </a:cubicBezTo>
                  <a:cubicBezTo>
                    <a:pt x="188" y="15"/>
                    <a:pt x="214" y="30"/>
                    <a:pt x="237" y="51"/>
                  </a:cubicBezTo>
                  <a:cubicBezTo>
                    <a:pt x="258" y="70"/>
                    <a:pt x="273" y="92"/>
                    <a:pt x="281" y="118"/>
                  </a:cubicBezTo>
                  <a:cubicBezTo>
                    <a:pt x="268" y="105"/>
                    <a:pt x="247" y="100"/>
                    <a:pt x="229" y="10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" name="Freeform 321">
              <a:extLst>
                <a:ext uri="{FF2B5EF4-FFF2-40B4-BE49-F238E27FC236}">
                  <a16:creationId xmlns:a16="http://schemas.microsoft.com/office/drawing/2014/main" id="{39C738EB-51DE-C704-B75C-84CBCD5D68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0263" y="3343275"/>
              <a:ext cx="803275" cy="655638"/>
            </a:xfrm>
            <a:custGeom>
              <a:avLst/>
              <a:gdLst>
                <a:gd name="T0" fmla="*/ 183 w 188"/>
                <a:gd name="T1" fmla="*/ 61 h 153"/>
                <a:gd name="T2" fmla="*/ 140 w 188"/>
                <a:gd name="T3" fmla="*/ 103 h 153"/>
                <a:gd name="T4" fmla="*/ 79 w 188"/>
                <a:gd name="T5" fmla="*/ 84 h 153"/>
                <a:gd name="T6" fmla="*/ 123 w 188"/>
                <a:gd name="T7" fmla="*/ 124 h 153"/>
                <a:gd name="T8" fmla="*/ 65 w 188"/>
                <a:gd name="T9" fmla="*/ 149 h 153"/>
                <a:gd name="T10" fmla="*/ 31 w 188"/>
                <a:gd name="T11" fmla="*/ 152 h 153"/>
                <a:gd name="T12" fmla="*/ 0 w 188"/>
                <a:gd name="T13" fmla="*/ 144 h 153"/>
                <a:gd name="T14" fmla="*/ 48 w 188"/>
                <a:gd name="T15" fmla="*/ 114 h 153"/>
                <a:gd name="T16" fmla="*/ 77 w 188"/>
                <a:gd name="T17" fmla="*/ 72 h 153"/>
                <a:gd name="T18" fmla="*/ 103 w 188"/>
                <a:gd name="T19" fmla="*/ 25 h 153"/>
                <a:gd name="T20" fmla="*/ 140 w 188"/>
                <a:gd name="T21" fmla="*/ 1 h 153"/>
                <a:gd name="T22" fmla="*/ 182 w 188"/>
                <a:gd name="T23" fmla="*/ 22 h 153"/>
                <a:gd name="T24" fmla="*/ 183 w 188"/>
                <a:gd name="T25" fmla="*/ 6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8" h="153">
                  <a:moveTo>
                    <a:pt x="183" y="61"/>
                  </a:moveTo>
                  <a:cubicBezTo>
                    <a:pt x="177" y="81"/>
                    <a:pt x="160" y="97"/>
                    <a:pt x="140" y="103"/>
                  </a:cubicBezTo>
                  <a:cubicBezTo>
                    <a:pt x="117" y="109"/>
                    <a:pt x="94" y="102"/>
                    <a:pt x="79" y="84"/>
                  </a:cubicBezTo>
                  <a:cubicBezTo>
                    <a:pt x="80" y="108"/>
                    <a:pt x="99" y="124"/>
                    <a:pt x="123" y="124"/>
                  </a:cubicBezTo>
                  <a:cubicBezTo>
                    <a:pt x="108" y="139"/>
                    <a:pt x="86" y="146"/>
                    <a:pt x="65" y="149"/>
                  </a:cubicBezTo>
                  <a:cubicBezTo>
                    <a:pt x="54" y="151"/>
                    <a:pt x="42" y="153"/>
                    <a:pt x="31" y="152"/>
                  </a:cubicBezTo>
                  <a:cubicBezTo>
                    <a:pt x="21" y="152"/>
                    <a:pt x="9" y="150"/>
                    <a:pt x="0" y="144"/>
                  </a:cubicBezTo>
                  <a:cubicBezTo>
                    <a:pt x="19" y="139"/>
                    <a:pt x="35" y="128"/>
                    <a:pt x="48" y="114"/>
                  </a:cubicBezTo>
                  <a:cubicBezTo>
                    <a:pt x="60" y="101"/>
                    <a:pt x="69" y="87"/>
                    <a:pt x="77" y="72"/>
                  </a:cubicBezTo>
                  <a:cubicBezTo>
                    <a:pt x="85" y="56"/>
                    <a:pt x="92" y="39"/>
                    <a:pt x="103" y="25"/>
                  </a:cubicBezTo>
                  <a:cubicBezTo>
                    <a:pt x="112" y="12"/>
                    <a:pt x="124" y="2"/>
                    <a:pt x="140" y="1"/>
                  </a:cubicBezTo>
                  <a:cubicBezTo>
                    <a:pt x="157" y="0"/>
                    <a:pt x="174" y="7"/>
                    <a:pt x="182" y="22"/>
                  </a:cubicBezTo>
                  <a:cubicBezTo>
                    <a:pt x="188" y="35"/>
                    <a:pt x="187" y="48"/>
                    <a:pt x="183" y="6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869280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vider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3E65870-6F3C-04B2-E814-901DB0CFC0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776" y="588210"/>
            <a:ext cx="8281358" cy="685800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2F5917D-61BC-41CF-A3CC-DAE6954137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19536" y="1556792"/>
            <a:ext cx="648072" cy="648072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>
              <a:defRPr lang="en-US" sz="3200" b="1" cap="none" spc="300" baseline="0" dirty="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01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0E372CD-CFED-4FF2-90F5-6A7F33D9AB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83632" y="1556792"/>
            <a:ext cx="8863408" cy="648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>
                <a:solidFill>
                  <a:sysClr val="windowText" lastClr="000000"/>
                </a:solidFill>
              </a:defRPr>
            </a:lvl1pPr>
            <a:lvl2pPr>
              <a:defRPr sz="3200">
                <a:solidFill>
                  <a:schemeClr val="bg1"/>
                </a:solidFill>
              </a:defRPr>
            </a:lvl2pPr>
            <a:lvl3pPr>
              <a:defRPr sz="3200">
                <a:solidFill>
                  <a:schemeClr val="bg1"/>
                </a:solidFill>
              </a:defRPr>
            </a:lvl3pPr>
            <a:lvl4pPr>
              <a:defRPr sz="3200">
                <a:solidFill>
                  <a:schemeClr val="bg1"/>
                </a:solidFill>
              </a:defRPr>
            </a:lvl4pPr>
            <a:lvl5pPr>
              <a:defRPr sz="3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230484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A8CE45-A6FC-9CE9-F8CD-BA044CFE94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08234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67AB06E-CA55-4893-BAFA-61FF4CCDFB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4971" y="1125538"/>
            <a:ext cx="11369042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600" b="0">
                <a:solidFill>
                  <a:schemeClr val="tx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3D6CCA-5023-D91C-5084-3ED466DC80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31691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67AB06E-CA55-4893-BAFA-61FF4CCDFB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4971" y="1125538"/>
            <a:ext cx="11369042" cy="24622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 b="0">
                <a:solidFill>
                  <a:schemeClr val="tx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BA091BB-1771-4A6F-B93C-43E4798B42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D4D202-FD32-49BA-88CC-B39D2339504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1624108"/>
            <a:ext cx="11369042" cy="482908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3842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18F3953-316A-B430-FE17-F219A7EE06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9BC7447-5EDE-45B1-8FE5-B3F4F93D2FE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9" y="1628775"/>
            <a:ext cx="5532086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0">
                <a:solidFill>
                  <a:srgbClr val="0070AD"/>
                </a:solidFill>
                <a:latin typeface="+mj-lt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35CBB3CA-52BC-F9EF-5805-F1F9D912DB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4972" y="2506942"/>
            <a:ext cx="5525185" cy="374396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C5D9D41C-6A18-9349-55BE-94DED28E30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32425" y="1628775"/>
            <a:ext cx="5451505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0">
                <a:solidFill>
                  <a:srgbClr val="0070AD"/>
                </a:solidFill>
                <a:latin typeface="+mj-lt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7B44136C-3018-5130-3AC3-47B22ACD9DA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32425" y="2506943"/>
            <a:ext cx="5444603" cy="374396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35726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5ABF5EC-92A5-4E9A-F280-EB30FFBC0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9CD9F072-6C90-9A95-A50F-DCA5FC167D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4971" y="1628775"/>
            <a:ext cx="3672000" cy="8378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1B0A4F3-549E-71F6-BE52-B382C47A49E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4971" y="2565359"/>
            <a:ext cx="3672000" cy="35279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600"/>
              </a:spcBef>
              <a:defRPr sz="1400"/>
            </a:lvl2pPr>
            <a:lvl3pPr>
              <a:lnSpc>
                <a:spcPct val="100000"/>
              </a:lnSpc>
              <a:spcBef>
                <a:spcPts val="600"/>
              </a:spcBef>
              <a:defRPr sz="1400"/>
            </a:lvl3pPr>
            <a:lvl4pPr>
              <a:lnSpc>
                <a:spcPct val="100000"/>
              </a:lnSpc>
              <a:spcBef>
                <a:spcPts val="600"/>
              </a:spcBef>
              <a:defRPr sz="1400"/>
            </a:lvl4pPr>
            <a:lvl5pPr>
              <a:lnSpc>
                <a:spcPct val="100000"/>
              </a:lnSpc>
              <a:spcBef>
                <a:spcPts val="60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A4B6F29C-F89C-245A-B142-516CCF1543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60000" y="1628774"/>
            <a:ext cx="3672000" cy="8378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DD618B66-9577-9BCD-E317-0B5976EC205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60000" y="2565359"/>
            <a:ext cx="3672000" cy="35279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600"/>
              </a:spcBef>
              <a:defRPr sz="1400"/>
            </a:lvl2pPr>
            <a:lvl3pPr>
              <a:lnSpc>
                <a:spcPct val="100000"/>
              </a:lnSpc>
              <a:spcBef>
                <a:spcPts val="600"/>
              </a:spcBef>
              <a:defRPr sz="1400"/>
            </a:lvl3pPr>
            <a:lvl4pPr>
              <a:lnSpc>
                <a:spcPct val="100000"/>
              </a:lnSpc>
              <a:spcBef>
                <a:spcPts val="600"/>
              </a:spcBef>
              <a:defRPr sz="1400"/>
            </a:lvl4pPr>
            <a:lvl5pPr>
              <a:lnSpc>
                <a:spcPct val="100000"/>
              </a:lnSpc>
              <a:spcBef>
                <a:spcPts val="60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FD81C950-E364-B77A-5216-238E0BB40E8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05029" y="1628774"/>
            <a:ext cx="3672000" cy="8378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0BE233-FA65-E9BC-C55B-5E4EBC8DB4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029" y="2565359"/>
            <a:ext cx="3672000" cy="35279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600"/>
              </a:spcBef>
              <a:defRPr sz="1400"/>
            </a:lvl2pPr>
            <a:lvl3pPr>
              <a:lnSpc>
                <a:spcPct val="100000"/>
              </a:lnSpc>
              <a:spcBef>
                <a:spcPts val="600"/>
              </a:spcBef>
              <a:defRPr sz="1400"/>
            </a:lvl3pPr>
            <a:lvl4pPr>
              <a:lnSpc>
                <a:spcPct val="100000"/>
              </a:lnSpc>
              <a:spcBef>
                <a:spcPts val="600"/>
              </a:spcBef>
              <a:defRPr sz="1400"/>
            </a:lvl4pPr>
            <a:lvl5pPr>
              <a:lnSpc>
                <a:spcPct val="100000"/>
              </a:lnSpc>
              <a:spcBef>
                <a:spcPts val="60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6834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71766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bg>
      <p:bgPr>
        <a:gradFill flip="none" rotWithShape="1"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">
            <a:extLst>
              <a:ext uri="{FF2B5EF4-FFF2-40B4-BE49-F238E27FC236}">
                <a16:creationId xmlns:a16="http://schemas.microsoft.com/office/drawing/2014/main" id="{A762397C-7EE3-E752-C3C7-E1EB83F8081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69" y="3676570"/>
            <a:ext cx="6336703" cy="246221"/>
          </a:xfrm>
          <a:prstGeom prst="rect">
            <a:avLst/>
          </a:prstGeom>
        </p:spPr>
        <p:txBody>
          <a:bodyPr wrap="square" lIns="18000" tIns="0" rIns="0" anchor="b" anchorCtr="0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EA67FB30-5217-5F8D-B4ED-781E4E0C89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368" y="1343944"/>
            <a:ext cx="6336704" cy="2326627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04E8B402-A28C-9742-E11A-B00843CA0E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368" y="1051220"/>
            <a:ext cx="6336704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Optional: Click to insert name</a:t>
            </a:r>
          </a:p>
        </p:txBody>
      </p:sp>
      <p:pic>
        <p:nvPicPr>
          <p:cNvPr id="3" name="Graphique 2">
            <a:extLst>
              <a:ext uri="{FF2B5EF4-FFF2-40B4-BE49-F238E27FC236}">
                <a16:creationId xmlns:a16="http://schemas.microsoft.com/office/drawing/2014/main" id="{3F56F8D6-CB7B-5AA5-61D2-3306F16792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2694" y="5975962"/>
            <a:ext cx="2988000" cy="453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571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D8E58F-8094-1E41-530A-1113B38797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772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67AB06E-CA55-4893-BAFA-61FF4CCDFB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4971" y="1125538"/>
            <a:ext cx="11369042" cy="24622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 b="0">
                <a:solidFill>
                  <a:schemeClr val="tx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963528-AA21-5972-C236-27F2D7209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76227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Content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67AB06E-CA55-4893-BAFA-61FF4CCDFB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4971" y="1125538"/>
            <a:ext cx="11369042" cy="24622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 b="0">
                <a:solidFill>
                  <a:schemeClr val="tx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D4D202-FD32-49BA-88CC-B39D2339504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1624108"/>
            <a:ext cx="11369042" cy="482908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2564CED-1C28-DF10-1067-5941504A95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31991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Gre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02967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 Short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8">
            <a:extLst>
              <a:ext uri="{FF2B5EF4-FFF2-40B4-BE49-F238E27FC236}">
                <a16:creationId xmlns:a16="http://schemas.microsoft.com/office/drawing/2014/main" id="{6C4F5EE7-6CA6-23D5-2788-911B0B2A43B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040215" y="1122907"/>
            <a:ext cx="4151785" cy="5735093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Insert Picture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98C3DB19-4889-48D4-AFFB-A1B288723D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71" y="1125538"/>
            <a:ext cx="7409221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tx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23C25D57-CF8D-453D-9648-5B7859B01F0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1628800"/>
            <a:ext cx="7409221" cy="4824388"/>
          </a:xfrm>
          <a:prstGeom prst="rect">
            <a:avLst/>
          </a:prstGeom>
        </p:spPr>
        <p:txBody>
          <a:bodyPr rIns="216000"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050C691-8B76-E01C-4EF1-3EB567E0EB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36191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>
        <p15:guide id="1" pos="5065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 Short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8">
            <a:extLst>
              <a:ext uri="{FF2B5EF4-FFF2-40B4-BE49-F238E27FC236}">
                <a16:creationId xmlns:a16="http://schemas.microsoft.com/office/drawing/2014/main" id="{6C4F5EE7-6CA6-23D5-2788-911B0B2A43B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040215" y="1122907"/>
            <a:ext cx="4151785" cy="5735093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Insert Picture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23C25D57-CF8D-453D-9648-5B7859B01F0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2852936"/>
            <a:ext cx="7409221" cy="2879526"/>
          </a:xfrm>
          <a:prstGeom prst="rect">
            <a:avLst/>
          </a:prstGeom>
        </p:spPr>
        <p:txBody>
          <a:bodyPr rIns="216000"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050C691-8B76-E01C-4EF1-3EB567E0EB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971" y="1122908"/>
            <a:ext cx="7409221" cy="1369988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00932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>
        <p15:guide id="1" pos="5065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 Short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8">
            <a:extLst>
              <a:ext uri="{FF2B5EF4-FFF2-40B4-BE49-F238E27FC236}">
                <a16:creationId xmlns:a16="http://schemas.microsoft.com/office/drawing/2014/main" id="{97BD40BB-A2F0-F646-3CC2-596CC419583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96000" y="1122907"/>
            <a:ext cx="6096001" cy="5735093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Insert Picture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859F9A52-5C59-4371-8261-06DAE7261A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71" y="1125538"/>
            <a:ext cx="5545800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tx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F1655B6-7DE6-4895-863F-EF917B2F07E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1628775"/>
            <a:ext cx="5545137" cy="4824413"/>
          </a:xfrm>
          <a:prstGeom prst="rect">
            <a:avLst/>
          </a:prstGeom>
        </p:spPr>
        <p:txBody>
          <a:bodyPr rIns="216000"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0C572A4-9113-ABE4-A840-37A9AAC56C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59672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 Short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FB58C20F-AA44-45A0-8BD7-3F72A12E08AD}"/>
              </a:ext>
            </a:extLst>
          </p:cNvPr>
          <p:cNvSpPr/>
          <p:nvPr userDrawn="1"/>
        </p:nvSpPr>
        <p:spPr>
          <a:xfrm>
            <a:off x="0" y="0"/>
            <a:ext cx="407366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8003CB7C-5AB2-4487-B779-DFE57F79C5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44744" y="1125538"/>
            <a:ext cx="6984000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tx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219CA61-951E-46A4-A7C6-8A4C09FDC62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5407" y="1628774"/>
            <a:ext cx="6962544" cy="482441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D7751A-AC4E-473A-B544-73973FAE946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0"/>
            <a:ext cx="4223792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add picture and send picture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A52824-0DEF-7B5E-1D4F-BCBC062D66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9384" y="260350"/>
            <a:ext cx="6984000" cy="7921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65397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 Short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08930BD6-6C9D-490A-BF02-403245ED990A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7895A1A3-A6AA-456A-98DD-23651F1D1DB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84032" y="1125538"/>
            <a:ext cx="5063967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tx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3F2C12DC-68D5-4DF5-891E-DAEB8A4AB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84032" y="1627200"/>
            <a:ext cx="5063967" cy="48259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AAAC9D4-CD35-41A1-A14D-B18A58A2866E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add picture and send picture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7337B1-E3AC-A7E5-7836-78F324F9FF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9417" y="260350"/>
            <a:ext cx="5063967" cy="7921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50580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Dark Blue">
    <p:bg>
      <p:bgPr>
        <a:gradFill flip="none" rotWithShape="1"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37">
            <a:extLst>
              <a:ext uri="{FF2B5EF4-FFF2-40B4-BE49-F238E27FC236}">
                <a16:creationId xmlns:a16="http://schemas.microsoft.com/office/drawing/2014/main" id="{249954CA-1B4C-479D-8956-C152CD1D4255}"/>
              </a:ext>
            </a:extLst>
          </p:cNvPr>
          <p:cNvGrpSpPr/>
          <p:nvPr userDrawn="1"/>
        </p:nvGrpSpPr>
        <p:grpSpPr>
          <a:xfrm>
            <a:off x="11501102" y="171573"/>
            <a:ext cx="419436" cy="388087"/>
            <a:chOff x="5481638" y="2859088"/>
            <a:chExt cx="1231900" cy="1139825"/>
          </a:xfrm>
          <a:solidFill>
            <a:schemeClr val="bg1"/>
          </a:solidFill>
        </p:grpSpPr>
        <p:sp>
          <p:nvSpPr>
            <p:cNvPr id="4" name="Freeform 320">
              <a:extLst>
                <a:ext uri="{FF2B5EF4-FFF2-40B4-BE49-F238E27FC236}">
                  <a16:creationId xmlns:a16="http://schemas.microsoft.com/office/drawing/2014/main" id="{86845868-3C42-0B91-A56D-1739F1EE5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1638" y="2859088"/>
              <a:ext cx="1203325" cy="1041400"/>
            </a:xfrm>
            <a:custGeom>
              <a:avLst/>
              <a:gdLst>
                <a:gd name="T0" fmla="*/ 229 w 281"/>
                <a:gd name="T1" fmla="*/ 105 h 243"/>
                <a:gd name="T2" fmla="*/ 186 w 281"/>
                <a:gd name="T3" fmla="*/ 141 h 243"/>
                <a:gd name="T4" fmla="*/ 154 w 281"/>
                <a:gd name="T5" fmla="*/ 194 h 243"/>
                <a:gd name="T6" fmla="*/ 112 w 281"/>
                <a:gd name="T7" fmla="*/ 233 h 243"/>
                <a:gd name="T8" fmla="*/ 53 w 281"/>
                <a:gd name="T9" fmla="*/ 236 h 243"/>
                <a:gd name="T10" fmla="*/ 0 w 281"/>
                <a:gd name="T11" fmla="*/ 159 h 243"/>
                <a:gd name="T12" fmla="*/ 153 w 281"/>
                <a:gd name="T13" fmla="*/ 0 h 243"/>
                <a:gd name="T14" fmla="*/ 153 w 281"/>
                <a:gd name="T15" fmla="*/ 0 h 243"/>
                <a:gd name="T16" fmla="*/ 160 w 281"/>
                <a:gd name="T17" fmla="*/ 3 h 243"/>
                <a:gd name="T18" fmla="*/ 237 w 281"/>
                <a:gd name="T19" fmla="*/ 51 h 243"/>
                <a:gd name="T20" fmla="*/ 281 w 281"/>
                <a:gd name="T21" fmla="*/ 118 h 243"/>
                <a:gd name="T22" fmla="*/ 229 w 281"/>
                <a:gd name="T23" fmla="*/ 10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1" h="243">
                  <a:moveTo>
                    <a:pt x="229" y="105"/>
                  </a:moveTo>
                  <a:cubicBezTo>
                    <a:pt x="210" y="109"/>
                    <a:pt x="196" y="125"/>
                    <a:pt x="186" y="141"/>
                  </a:cubicBezTo>
                  <a:cubicBezTo>
                    <a:pt x="175" y="159"/>
                    <a:pt x="166" y="177"/>
                    <a:pt x="154" y="194"/>
                  </a:cubicBezTo>
                  <a:cubicBezTo>
                    <a:pt x="143" y="211"/>
                    <a:pt x="130" y="225"/>
                    <a:pt x="112" y="233"/>
                  </a:cubicBezTo>
                  <a:cubicBezTo>
                    <a:pt x="93" y="242"/>
                    <a:pt x="72" y="243"/>
                    <a:pt x="53" y="236"/>
                  </a:cubicBezTo>
                  <a:cubicBezTo>
                    <a:pt x="21" y="224"/>
                    <a:pt x="0" y="192"/>
                    <a:pt x="0" y="159"/>
                  </a:cubicBezTo>
                  <a:cubicBezTo>
                    <a:pt x="0" y="72"/>
                    <a:pt x="119" y="42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55" y="1"/>
                    <a:pt x="158" y="2"/>
                    <a:pt x="160" y="3"/>
                  </a:cubicBezTo>
                  <a:cubicBezTo>
                    <a:pt x="188" y="15"/>
                    <a:pt x="214" y="30"/>
                    <a:pt x="237" y="51"/>
                  </a:cubicBezTo>
                  <a:cubicBezTo>
                    <a:pt x="258" y="70"/>
                    <a:pt x="273" y="92"/>
                    <a:pt x="281" y="118"/>
                  </a:cubicBezTo>
                  <a:cubicBezTo>
                    <a:pt x="268" y="105"/>
                    <a:pt x="247" y="100"/>
                    <a:pt x="229" y="10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" name="Freeform 321">
              <a:extLst>
                <a:ext uri="{FF2B5EF4-FFF2-40B4-BE49-F238E27FC236}">
                  <a16:creationId xmlns:a16="http://schemas.microsoft.com/office/drawing/2014/main" id="{F5D1D048-6CFA-0DCF-5953-84431BE67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0263" y="3343275"/>
              <a:ext cx="803275" cy="655638"/>
            </a:xfrm>
            <a:custGeom>
              <a:avLst/>
              <a:gdLst>
                <a:gd name="T0" fmla="*/ 183 w 188"/>
                <a:gd name="T1" fmla="*/ 61 h 153"/>
                <a:gd name="T2" fmla="*/ 140 w 188"/>
                <a:gd name="T3" fmla="*/ 103 h 153"/>
                <a:gd name="T4" fmla="*/ 79 w 188"/>
                <a:gd name="T5" fmla="*/ 84 h 153"/>
                <a:gd name="T6" fmla="*/ 123 w 188"/>
                <a:gd name="T7" fmla="*/ 124 h 153"/>
                <a:gd name="T8" fmla="*/ 65 w 188"/>
                <a:gd name="T9" fmla="*/ 149 h 153"/>
                <a:gd name="T10" fmla="*/ 31 w 188"/>
                <a:gd name="T11" fmla="*/ 152 h 153"/>
                <a:gd name="T12" fmla="*/ 0 w 188"/>
                <a:gd name="T13" fmla="*/ 144 h 153"/>
                <a:gd name="T14" fmla="*/ 48 w 188"/>
                <a:gd name="T15" fmla="*/ 114 h 153"/>
                <a:gd name="T16" fmla="*/ 77 w 188"/>
                <a:gd name="T17" fmla="*/ 72 h 153"/>
                <a:gd name="T18" fmla="*/ 103 w 188"/>
                <a:gd name="T19" fmla="*/ 25 h 153"/>
                <a:gd name="T20" fmla="*/ 140 w 188"/>
                <a:gd name="T21" fmla="*/ 1 h 153"/>
                <a:gd name="T22" fmla="*/ 182 w 188"/>
                <a:gd name="T23" fmla="*/ 22 h 153"/>
                <a:gd name="T24" fmla="*/ 183 w 188"/>
                <a:gd name="T25" fmla="*/ 6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8" h="153">
                  <a:moveTo>
                    <a:pt x="183" y="61"/>
                  </a:moveTo>
                  <a:cubicBezTo>
                    <a:pt x="177" y="81"/>
                    <a:pt x="160" y="97"/>
                    <a:pt x="140" y="103"/>
                  </a:cubicBezTo>
                  <a:cubicBezTo>
                    <a:pt x="117" y="109"/>
                    <a:pt x="94" y="102"/>
                    <a:pt x="79" y="84"/>
                  </a:cubicBezTo>
                  <a:cubicBezTo>
                    <a:pt x="80" y="108"/>
                    <a:pt x="99" y="124"/>
                    <a:pt x="123" y="124"/>
                  </a:cubicBezTo>
                  <a:cubicBezTo>
                    <a:pt x="108" y="139"/>
                    <a:pt x="86" y="146"/>
                    <a:pt x="65" y="149"/>
                  </a:cubicBezTo>
                  <a:cubicBezTo>
                    <a:pt x="54" y="151"/>
                    <a:pt x="42" y="153"/>
                    <a:pt x="31" y="152"/>
                  </a:cubicBezTo>
                  <a:cubicBezTo>
                    <a:pt x="21" y="152"/>
                    <a:pt x="9" y="150"/>
                    <a:pt x="0" y="144"/>
                  </a:cubicBezTo>
                  <a:cubicBezTo>
                    <a:pt x="19" y="139"/>
                    <a:pt x="35" y="128"/>
                    <a:pt x="48" y="114"/>
                  </a:cubicBezTo>
                  <a:cubicBezTo>
                    <a:pt x="60" y="101"/>
                    <a:pt x="69" y="87"/>
                    <a:pt x="77" y="72"/>
                  </a:cubicBezTo>
                  <a:cubicBezTo>
                    <a:pt x="85" y="56"/>
                    <a:pt x="92" y="39"/>
                    <a:pt x="103" y="25"/>
                  </a:cubicBezTo>
                  <a:cubicBezTo>
                    <a:pt x="112" y="12"/>
                    <a:pt x="124" y="2"/>
                    <a:pt x="140" y="1"/>
                  </a:cubicBezTo>
                  <a:cubicBezTo>
                    <a:pt x="157" y="0"/>
                    <a:pt x="174" y="7"/>
                    <a:pt x="182" y="22"/>
                  </a:cubicBezTo>
                  <a:cubicBezTo>
                    <a:pt x="188" y="35"/>
                    <a:pt x="187" y="48"/>
                    <a:pt x="183" y="6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EE7D5AB5-F4DB-ECDA-A390-D448906476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68548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bg>
      <p:bgPr>
        <a:gradFill flip="none" rotWithShape="1"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3A966515-C64B-E7BB-1198-D99D16DE65B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59896" y="1916832"/>
            <a:ext cx="7032104" cy="4941168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Insert Picture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C410B-B58E-46DB-B5F0-7F515E223D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368" y="3341212"/>
            <a:ext cx="4609034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Optional: Click to insert name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A6C182ED-7FBB-D436-05D8-96E184F17B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68" y="2924944"/>
            <a:ext cx="4609034" cy="246221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6ABBE1C-3373-50D9-4152-CA1AC4A5E7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368" y="1285134"/>
            <a:ext cx="4609034" cy="1495794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9" name="Graphique 8">
            <a:extLst>
              <a:ext uri="{FF2B5EF4-FFF2-40B4-BE49-F238E27FC236}">
                <a16:creationId xmlns:a16="http://schemas.microsoft.com/office/drawing/2014/main" id="{C9CAB1DF-7FB3-56CD-1D30-0C2D243EE36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2694" y="5975962"/>
            <a:ext cx="2988000" cy="453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9571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Dark Blue">
    <p:bg>
      <p:bgPr>
        <a:gradFill flip="none" rotWithShape="1"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166E472-7F03-4595-8219-0CA22510C30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71" y="1125538"/>
            <a:ext cx="11369042" cy="246221"/>
          </a:xfrm>
          <a:prstGeom prst="rect">
            <a:avLst/>
          </a:prstGeom>
        </p:spPr>
        <p:txBody>
          <a:bodyPr lIns="0"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" name="Group 37">
            <a:extLst>
              <a:ext uri="{FF2B5EF4-FFF2-40B4-BE49-F238E27FC236}">
                <a16:creationId xmlns:a16="http://schemas.microsoft.com/office/drawing/2014/main" id="{249954CA-1B4C-479D-8956-C152CD1D4255}"/>
              </a:ext>
            </a:extLst>
          </p:cNvPr>
          <p:cNvGrpSpPr/>
          <p:nvPr userDrawn="1"/>
        </p:nvGrpSpPr>
        <p:grpSpPr>
          <a:xfrm>
            <a:off x="11501102" y="171573"/>
            <a:ext cx="419436" cy="388087"/>
            <a:chOff x="5481638" y="2859088"/>
            <a:chExt cx="1231900" cy="1139825"/>
          </a:xfrm>
          <a:solidFill>
            <a:schemeClr val="bg1"/>
          </a:solidFill>
        </p:grpSpPr>
        <p:sp>
          <p:nvSpPr>
            <p:cNvPr id="4" name="Freeform 320">
              <a:extLst>
                <a:ext uri="{FF2B5EF4-FFF2-40B4-BE49-F238E27FC236}">
                  <a16:creationId xmlns:a16="http://schemas.microsoft.com/office/drawing/2014/main" id="{86845868-3C42-0B91-A56D-1739F1EE5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1638" y="2859088"/>
              <a:ext cx="1203325" cy="1041400"/>
            </a:xfrm>
            <a:custGeom>
              <a:avLst/>
              <a:gdLst>
                <a:gd name="T0" fmla="*/ 229 w 281"/>
                <a:gd name="T1" fmla="*/ 105 h 243"/>
                <a:gd name="T2" fmla="*/ 186 w 281"/>
                <a:gd name="T3" fmla="*/ 141 h 243"/>
                <a:gd name="T4" fmla="*/ 154 w 281"/>
                <a:gd name="T5" fmla="*/ 194 h 243"/>
                <a:gd name="T6" fmla="*/ 112 w 281"/>
                <a:gd name="T7" fmla="*/ 233 h 243"/>
                <a:gd name="T8" fmla="*/ 53 w 281"/>
                <a:gd name="T9" fmla="*/ 236 h 243"/>
                <a:gd name="T10" fmla="*/ 0 w 281"/>
                <a:gd name="T11" fmla="*/ 159 h 243"/>
                <a:gd name="T12" fmla="*/ 153 w 281"/>
                <a:gd name="T13" fmla="*/ 0 h 243"/>
                <a:gd name="T14" fmla="*/ 153 w 281"/>
                <a:gd name="T15" fmla="*/ 0 h 243"/>
                <a:gd name="T16" fmla="*/ 160 w 281"/>
                <a:gd name="T17" fmla="*/ 3 h 243"/>
                <a:gd name="T18" fmla="*/ 237 w 281"/>
                <a:gd name="T19" fmla="*/ 51 h 243"/>
                <a:gd name="T20" fmla="*/ 281 w 281"/>
                <a:gd name="T21" fmla="*/ 118 h 243"/>
                <a:gd name="T22" fmla="*/ 229 w 281"/>
                <a:gd name="T23" fmla="*/ 10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1" h="243">
                  <a:moveTo>
                    <a:pt x="229" y="105"/>
                  </a:moveTo>
                  <a:cubicBezTo>
                    <a:pt x="210" y="109"/>
                    <a:pt x="196" y="125"/>
                    <a:pt x="186" y="141"/>
                  </a:cubicBezTo>
                  <a:cubicBezTo>
                    <a:pt x="175" y="159"/>
                    <a:pt x="166" y="177"/>
                    <a:pt x="154" y="194"/>
                  </a:cubicBezTo>
                  <a:cubicBezTo>
                    <a:pt x="143" y="211"/>
                    <a:pt x="130" y="225"/>
                    <a:pt x="112" y="233"/>
                  </a:cubicBezTo>
                  <a:cubicBezTo>
                    <a:pt x="93" y="242"/>
                    <a:pt x="72" y="243"/>
                    <a:pt x="53" y="236"/>
                  </a:cubicBezTo>
                  <a:cubicBezTo>
                    <a:pt x="21" y="224"/>
                    <a:pt x="0" y="192"/>
                    <a:pt x="0" y="159"/>
                  </a:cubicBezTo>
                  <a:cubicBezTo>
                    <a:pt x="0" y="72"/>
                    <a:pt x="119" y="42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55" y="1"/>
                    <a:pt x="158" y="2"/>
                    <a:pt x="160" y="3"/>
                  </a:cubicBezTo>
                  <a:cubicBezTo>
                    <a:pt x="188" y="15"/>
                    <a:pt x="214" y="30"/>
                    <a:pt x="237" y="51"/>
                  </a:cubicBezTo>
                  <a:cubicBezTo>
                    <a:pt x="258" y="70"/>
                    <a:pt x="273" y="92"/>
                    <a:pt x="281" y="118"/>
                  </a:cubicBezTo>
                  <a:cubicBezTo>
                    <a:pt x="268" y="105"/>
                    <a:pt x="247" y="100"/>
                    <a:pt x="229" y="10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" name="Freeform 321">
              <a:extLst>
                <a:ext uri="{FF2B5EF4-FFF2-40B4-BE49-F238E27FC236}">
                  <a16:creationId xmlns:a16="http://schemas.microsoft.com/office/drawing/2014/main" id="{F5D1D048-6CFA-0DCF-5953-84431BE67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0263" y="3343275"/>
              <a:ext cx="803275" cy="655638"/>
            </a:xfrm>
            <a:custGeom>
              <a:avLst/>
              <a:gdLst>
                <a:gd name="T0" fmla="*/ 183 w 188"/>
                <a:gd name="T1" fmla="*/ 61 h 153"/>
                <a:gd name="T2" fmla="*/ 140 w 188"/>
                <a:gd name="T3" fmla="*/ 103 h 153"/>
                <a:gd name="T4" fmla="*/ 79 w 188"/>
                <a:gd name="T5" fmla="*/ 84 h 153"/>
                <a:gd name="T6" fmla="*/ 123 w 188"/>
                <a:gd name="T7" fmla="*/ 124 h 153"/>
                <a:gd name="T8" fmla="*/ 65 w 188"/>
                <a:gd name="T9" fmla="*/ 149 h 153"/>
                <a:gd name="T10" fmla="*/ 31 w 188"/>
                <a:gd name="T11" fmla="*/ 152 h 153"/>
                <a:gd name="T12" fmla="*/ 0 w 188"/>
                <a:gd name="T13" fmla="*/ 144 h 153"/>
                <a:gd name="T14" fmla="*/ 48 w 188"/>
                <a:gd name="T15" fmla="*/ 114 h 153"/>
                <a:gd name="T16" fmla="*/ 77 w 188"/>
                <a:gd name="T17" fmla="*/ 72 h 153"/>
                <a:gd name="T18" fmla="*/ 103 w 188"/>
                <a:gd name="T19" fmla="*/ 25 h 153"/>
                <a:gd name="T20" fmla="*/ 140 w 188"/>
                <a:gd name="T21" fmla="*/ 1 h 153"/>
                <a:gd name="T22" fmla="*/ 182 w 188"/>
                <a:gd name="T23" fmla="*/ 22 h 153"/>
                <a:gd name="T24" fmla="*/ 183 w 188"/>
                <a:gd name="T25" fmla="*/ 6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8" h="153">
                  <a:moveTo>
                    <a:pt x="183" y="61"/>
                  </a:moveTo>
                  <a:cubicBezTo>
                    <a:pt x="177" y="81"/>
                    <a:pt x="160" y="97"/>
                    <a:pt x="140" y="103"/>
                  </a:cubicBezTo>
                  <a:cubicBezTo>
                    <a:pt x="117" y="109"/>
                    <a:pt x="94" y="102"/>
                    <a:pt x="79" y="84"/>
                  </a:cubicBezTo>
                  <a:cubicBezTo>
                    <a:pt x="80" y="108"/>
                    <a:pt x="99" y="124"/>
                    <a:pt x="123" y="124"/>
                  </a:cubicBezTo>
                  <a:cubicBezTo>
                    <a:pt x="108" y="139"/>
                    <a:pt x="86" y="146"/>
                    <a:pt x="65" y="149"/>
                  </a:cubicBezTo>
                  <a:cubicBezTo>
                    <a:pt x="54" y="151"/>
                    <a:pt x="42" y="153"/>
                    <a:pt x="31" y="152"/>
                  </a:cubicBezTo>
                  <a:cubicBezTo>
                    <a:pt x="21" y="152"/>
                    <a:pt x="9" y="150"/>
                    <a:pt x="0" y="144"/>
                  </a:cubicBezTo>
                  <a:cubicBezTo>
                    <a:pt x="19" y="139"/>
                    <a:pt x="35" y="128"/>
                    <a:pt x="48" y="114"/>
                  </a:cubicBezTo>
                  <a:cubicBezTo>
                    <a:pt x="60" y="101"/>
                    <a:pt x="69" y="87"/>
                    <a:pt x="77" y="72"/>
                  </a:cubicBezTo>
                  <a:cubicBezTo>
                    <a:pt x="85" y="56"/>
                    <a:pt x="92" y="39"/>
                    <a:pt x="103" y="25"/>
                  </a:cubicBezTo>
                  <a:cubicBezTo>
                    <a:pt x="112" y="12"/>
                    <a:pt x="124" y="2"/>
                    <a:pt x="140" y="1"/>
                  </a:cubicBezTo>
                  <a:cubicBezTo>
                    <a:pt x="157" y="0"/>
                    <a:pt x="174" y="7"/>
                    <a:pt x="182" y="22"/>
                  </a:cubicBezTo>
                  <a:cubicBezTo>
                    <a:pt x="188" y="35"/>
                    <a:pt x="187" y="48"/>
                    <a:pt x="183" y="6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EE7D5AB5-F4DB-ECDA-A390-D448906476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94278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37">
            <a:extLst>
              <a:ext uri="{FF2B5EF4-FFF2-40B4-BE49-F238E27FC236}">
                <a16:creationId xmlns:a16="http://schemas.microsoft.com/office/drawing/2014/main" id="{8045CCAE-BD2B-495D-9881-0F2682E7F5DC}"/>
              </a:ext>
            </a:extLst>
          </p:cNvPr>
          <p:cNvGrpSpPr/>
          <p:nvPr userDrawn="1"/>
        </p:nvGrpSpPr>
        <p:grpSpPr>
          <a:xfrm>
            <a:off x="11501102" y="171573"/>
            <a:ext cx="419436" cy="388087"/>
            <a:chOff x="5481638" y="2859088"/>
            <a:chExt cx="1231900" cy="1139825"/>
          </a:xfrm>
          <a:solidFill>
            <a:schemeClr val="bg1"/>
          </a:solidFill>
        </p:grpSpPr>
        <p:sp>
          <p:nvSpPr>
            <p:cNvPr id="9" name="Freeform 320">
              <a:extLst>
                <a:ext uri="{FF2B5EF4-FFF2-40B4-BE49-F238E27FC236}">
                  <a16:creationId xmlns:a16="http://schemas.microsoft.com/office/drawing/2014/main" id="{6A17AE04-922A-4540-99C5-F8D62C3B08E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1638" y="2859088"/>
              <a:ext cx="1203325" cy="1041400"/>
            </a:xfrm>
            <a:custGeom>
              <a:avLst/>
              <a:gdLst>
                <a:gd name="T0" fmla="*/ 229 w 281"/>
                <a:gd name="T1" fmla="*/ 105 h 243"/>
                <a:gd name="T2" fmla="*/ 186 w 281"/>
                <a:gd name="T3" fmla="*/ 141 h 243"/>
                <a:gd name="T4" fmla="*/ 154 w 281"/>
                <a:gd name="T5" fmla="*/ 194 h 243"/>
                <a:gd name="T6" fmla="*/ 112 w 281"/>
                <a:gd name="T7" fmla="*/ 233 h 243"/>
                <a:gd name="T8" fmla="*/ 53 w 281"/>
                <a:gd name="T9" fmla="*/ 236 h 243"/>
                <a:gd name="T10" fmla="*/ 0 w 281"/>
                <a:gd name="T11" fmla="*/ 159 h 243"/>
                <a:gd name="T12" fmla="*/ 153 w 281"/>
                <a:gd name="T13" fmla="*/ 0 h 243"/>
                <a:gd name="T14" fmla="*/ 153 w 281"/>
                <a:gd name="T15" fmla="*/ 0 h 243"/>
                <a:gd name="T16" fmla="*/ 160 w 281"/>
                <a:gd name="T17" fmla="*/ 3 h 243"/>
                <a:gd name="T18" fmla="*/ 237 w 281"/>
                <a:gd name="T19" fmla="*/ 51 h 243"/>
                <a:gd name="T20" fmla="*/ 281 w 281"/>
                <a:gd name="T21" fmla="*/ 118 h 243"/>
                <a:gd name="T22" fmla="*/ 229 w 281"/>
                <a:gd name="T23" fmla="*/ 10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1" h="243">
                  <a:moveTo>
                    <a:pt x="229" y="105"/>
                  </a:moveTo>
                  <a:cubicBezTo>
                    <a:pt x="210" y="109"/>
                    <a:pt x="196" y="125"/>
                    <a:pt x="186" y="141"/>
                  </a:cubicBezTo>
                  <a:cubicBezTo>
                    <a:pt x="175" y="159"/>
                    <a:pt x="166" y="177"/>
                    <a:pt x="154" y="194"/>
                  </a:cubicBezTo>
                  <a:cubicBezTo>
                    <a:pt x="143" y="211"/>
                    <a:pt x="130" y="225"/>
                    <a:pt x="112" y="233"/>
                  </a:cubicBezTo>
                  <a:cubicBezTo>
                    <a:pt x="93" y="242"/>
                    <a:pt x="72" y="243"/>
                    <a:pt x="53" y="236"/>
                  </a:cubicBezTo>
                  <a:cubicBezTo>
                    <a:pt x="21" y="224"/>
                    <a:pt x="0" y="192"/>
                    <a:pt x="0" y="159"/>
                  </a:cubicBezTo>
                  <a:cubicBezTo>
                    <a:pt x="0" y="72"/>
                    <a:pt x="119" y="42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55" y="1"/>
                    <a:pt x="158" y="2"/>
                    <a:pt x="160" y="3"/>
                  </a:cubicBezTo>
                  <a:cubicBezTo>
                    <a:pt x="188" y="15"/>
                    <a:pt x="214" y="30"/>
                    <a:pt x="237" y="51"/>
                  </a:cubicBezTo>
                  <a:cubicBezTo>
                    <a:pt x="258" y="70"/>
                    <a:pt x="273" y="92"/>
                    <a:pt x="281" y="118"/>
                  </a:cubicBezTo>
                  <a:cubicBezTo>
                    <a:pt x="268" y="105"/>
                    <a:pt x="247" y="100"/>
                    <a:pt x="229" y="10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321">
              <a:extLst>
                <a:ext uri="{FF2B5EF4-FFF2-40B4-BE49-F238E27FC236}">
                  <a16:creationId xmlns:a16="http://schemas.microsoft.com/office/drawing/2014/main" id="{DF832F2C-D3A7-4DE5-96EA-08ADD488B23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0263" y="3343275"/>
              <a:ext cx="803275" cy="655638"/>
            </a:xfrm>
            <a:custGeom>
              <a:avLst/>
              <a:gdLst>
                <a:gd name="T0" fmla="*/ 183 w 188"/>
                <a:gd name="T1" fmla="*/ 61 h 153"/>
                <a:gd name="T2" fmla="*/ 140 w 188"/>
                <a:gd name="T3" fmla="*/ 103 h 153"/>
                <a:gd name="T4" fmla="*/ 79 w 188"/>
                <a:gd name="T5" fmla="*/ 84 h 153"/>
                <a:gd name="T6" fmla="*/ 123 w 188"/>
                <a:gd name="T7" fmla="*/ 124 h 153"/>
                <a:gd name="T8" fmla="*/ 65 w 188"/>
                <a:gd name="T9" fmla="*/ 149 h 153"/>
                <a:gd name="T10" fmla="*/ 31 w 188"/>
                <a:gd name="T11" fmla="*/ 152 h 153"/>
                <a:gd name="T12" fmla="*/ 0 w 188"/>
                <a:gd name="T13" fmla="*/ 144 h 153"/>
                <a:gd name="T14" fmla="*/ 48 w 188"/>
                <a:gd name="T15" fmla="*/ 114 h 153"/>
                <a:gd name="T16" fmla="*/ 77 w 188"/>
                <a:gd name="T17" fmla="*/ 72 h 153"/>
                <a:gd name="T18" fmla="*/ 103 w 188"/>
                <a:gd name="T19" fmla="*/ 25 h 153"/>
                <a:gd name="T20" fmla="*/ 140 w 188"/>
                <a:gd name="T21" fmla="*/ 1 h 153"/>
                <a:gd name="T22" fmla="*/ 182 w 188"/>
                <a:gd name="T23" fmla="*/ 22 h 153"/>
                <a:gd name="T24" fmla="*/ 183 w 188"/>
                <a:gd name="T25" fmla="*/ 6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8" h="153">
                  <a:moveTo>
                    <a:pt x="183" y="61"/>
                  </a:moveTo>
                  <a:cubicBezTo>
                    <a:pt x="177" y="81"/>
                    <a:pt x="160" y="97"/>
                    <a:pt x="140" y="103"/>
                  </a:cubicBezTo>
                  <a:cubicBezTo>
                    <a:pt x="117" y="109"/>
                    <a:pt x="94" y="102"/>
                    <a:pt x="79" y="84"/>
                  </a:cubicBezTo>
                  <a:cubicBezTo>
                    <a:pt x="80" y="108"/>
                    <a:pt x="99" y="124"/>
                    <a:pt x="123" y="124"/>
                  </a:cubicBezTo>
                  <a:cubicBezTo>
                    <a:pt x="108" y="139"/>
                    <a:pt x="86" y="146"/>
                    <a:pt x="65" y="149"/>
                  </a:cubicBezTo>
                  <a:cubicBezTo>
                    <a:pt x="54" y="151"/>
                    <a:pt x="42" y="153"/>
                    <a:pt x="31" y="152"/>
                  </a:cubicBezTo>
                  <a:cubicBezTo>
                    <a:pt x="21" y="152"/>
                    <a:pt x="9" y="150"/>
                    <a:pt x="0" y="144"/>
                  </a:cubicBezTo>
                  <a:cubicBezTo>
                    <a:pt x="19" y="139"/>
                    <a:pt x="35" y="128"/>
                    <a:pt x="48" y="114"/>
                  </a:cubicBezTo>
                  <a:cubicBezTo>
                    <a:pt x="60" y="101"/>
                    <a:pt x="69" y="87"/>
                    <a:pt x="77" y="72"/>
                  </a:cubicBezTo>
                  <a:cubicBezTo>
                    <a:pt x="85" y="56"/>
                    <a:pt x="92" y="39"/>
                    <a:pt x="103" y="25"/>
                  </a:cubicBezTo>
                  <a:cubicBezTo>
                    <a:pt x="112" y="12"/>
                    <a:pt x="124" y="2"/>
                    <a:pt x="140" y="1"/>
                  </a:cubicBezTo>
                  <a:cubicBezTo>
                    <a:pt x="157" y="0"/>
                    <a:pt x="174" y="7"/>
                    <a:pt x="182" y="22"/>
                  </a:cubicBezTo>
                  <a:cubicBezTo>
                    <a:pt x="188" y="35"/>
                    <a:pt x="187" y="48"/>
                    <a:pt x="183" y="6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F942043-0ED4-4362-8DCB-F241572195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71" y="1125538"/>
            <a:ext cx="11369042" cy="246221"/>
          </a:xfrm>
          <a:prstGeom prst="rect">
            <a:avLst/>
          </a:prstGeom>
        </p:spPr>
        <p:txBody>
          <a:bodyPr lIns="0"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F4754F-A565-D595-AC8C-9F0E9407F8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27685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Content Grey">
    <p:bg>
      <p:bgPr>
        <a:gradFill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67AB06E-CA55-4893-BAFA-61FF4CCDFB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4971" y="1125538"/>
            <a:ext cx="11369042" cy="24622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D4D202-FD32-49BA-88CC-B39D2339504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1624108"/>
            <a:ext cx="11369042" cy="4829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2564CED-1C28-DF10-1067-5941504A95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3" name="Group 37">
            <a:extLst>
              <a:ext uri="{FF2B5EF4-FFF2-40B4-BE49-F238E27FC236}">
                <a16:creationId xmlns:a16="http://schemas.microsoft.com/office/drawing/2014/main" id="{B0C581DC-AC70-A4F0-51CB-1FA6B08A37BE}"/>
              </a:ext>
            </a:extLst>
          </p:cNvPr>
          <p:cNvGrpSpPr/>
          <p:nvPr userDrawn="1"/>
        </p:nvGrpSpPr>
        <p:grpSpPr>
          <a:xfrm>
            <a:off x="11501102" y="171573"/>
            <a:ext cx="419436" cy="388087"/>
            <a:chOff x="5481638" y="2859088"/>
            <a:chExt cx="1231900" cy="1139825"/>
          </a:xfrm>
          <a:solidFill>
            <a:schemeClr val="bg1"/>
          </a:solidFill>
        </p:grpSpPr>
        <p:sp>
          <p:nvSpPr>
            <p:cNvPr id="4" name="Freeform 320">
              <a:extLst>
                <a:ext uri="{FF2B5EF4-FFF2-40B4-BE49-F238E27FC236}">
                  <a16:creationId xmlns:a16="http://schemas.microsoft.com/office/drawing/2014/main" id="{63F60F5E-5D27-779B-6E8E-C91939821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1638" y="2859088"/>
              <a:ext cx="1203325" cy="1041400"/>
            </a:xfrm>
            <a:custGeom>
              <a:avLst/>
              <a:gdLst>
                <a:gd name="T0" fmla="*/ 229 w 281"/>
                <a:gd name="T1" fmla="*/ 105 h 243"/>
                <a:gd name="T2" fmla="*/ 186 w 281"/>
                <a:gd name="T3" fmla="*/ 141 h 243"/>
                <a:gd name="T4" fmla="*/ 154 w 281"/>
                <a:gd name="T5" fmla="*/ 194 h 243"/>
                <a:gd name="T6" fmla="*/ 112 w 281"/>
                <a:gd name="T7" fmla="*/ 233 h 243"/>
                <a:gd name="T8" fmla="*/ 53 w 281"/>
                <a:gd name="T9" fmla="*/ 236 h 243"/>
                <a:gd name="T10" fmla="*/ 0 w 281"/>
                <a:gd name="T11" fmla="*/ 159 h 243"/>
                <a:gd name="T12" fmla="*/ 153 w 281"/>
                <a:gd name="T13" fmla="*/ 0 h 243"/>
                <a:gd name="T14" fmla="*/ 153 w 281"/>
                <a:gd name="T15" fmla="*/ 0 h 243"/>
                <a:gd name="T16" fmla="*/ 160 w 281"/>
                <a:gd name="T17" fmla="*/ 3 h 243"/>
                <a:gd name="T18" fmla="*/ 237 w 281"/>
                <a:gd name="T19" fmla="*/ 51 h 243"/>
                <a:gd name="T20" fmla="*/ 281 w 281"/>
                <a:gd name="T21" fmla="*/ 118 h 243"/>
                <a:gd name="T22" fmla="*/ 229 w 281"/>
                <a:gd name="T23" fmla="*/ 10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1" h="243">
                  <a:moveTo>
                    <a:pt x="229" y="105"/>
                  </a:moveTo>
                  <a:cubicBezTo>
                    <a:pt x="210" y="109"/>
                    <a:pt x="196" y="125"/>
                    <a:pt x="186" y="141"/>
                  </a:cubicBezTo>
                  <a:cubicBezTo>
                    <a:pt x="175" y="159"/>
                    <a:pt x="166" y="177"/>
                    <a:pt x="154" y="194"/>
                  </a:cubicBezTo>
                  <a:cubicBezTo>
                    <a:pt x="143" y="211"/>
                    <a:pt x="130" y="225"/>
                    <a:pt x="112" y="233"/>
                  </a:cubicBezTo>
                  <a:cubicBezTo>
                    <a:pt x="93" y="242"/>
                    <a:pt x="72" y="243"/>
                    <a:pt x="53" y="236"/>
                  </a:cubicBezTo>
                  <a:cubicBezTo>
                    <a:pt x="21" y="224"/>
                    <a:pt x="0" y="192"/>
                    <a:pt x="0" y="159"/>
                  </a:cubicBezTo>
                  <a:cubicBezTo>
                    <a:pt x="0" y="72"/>
                    <a:pt x="119" y="42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55" y="1"/>
                    <a:pt x="158" y="2"/>
                    <a:pt x="160" y="3"/>
                  </a:cubicBezTo>
                  <a:cubicBezTo>
                    <a:pt x="188" y="15"/>
                    <a:pt x="214" y="30"/>
                    <a:pt x="237" y="51"/>
                  </a:cubicBezTo>
                  <a:cubicBezTo>
                    <a:pt x="258" y="70"/>
                    <a:pt x="273" y="92"/>
                    <a:pt x="281" y="118"/>
                  </a:cubicBezTo>
                  <a:cubicBezTo>
                    <a:pt x="268" y="105"/>
                    <a:pt x="247" y="100"/>
                    <a:pt x="229" y="10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" name="Freeform 321">
              <a:extLst>
                <a:ext uri="{FF2B5EF4-FFF2-40B4-BE49-F238E27FC236}">
                  <a16:creationId xmlns:a16="http://schemas.microsoft.com/office/drawing/2014/main" id="{A979E7CA-B1A9-8298-494D-03780A9E57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0263" y="3343275"/>
              <a:ext cx="803275" cy="655638"/>
            </a:xfrm>
            <a:custGeom>
              <a:avLst/>
              <a:gdLst>
                <a:gd name="T0" fmla="*/ 183 w 188"/>
                <a:gd name="T1" fmla="*/ 61 h 153"/>
                <a:gd name="T2" fmla="*/ 140 w 188"/>
                <a:gd name="T3" fmla="*/ 103 h 153"/>
                <a:gd name="T4" fmla="*/ 79 w 188"/>
                <a:gd name="T5" fmla="*/ 84 h 153"/>
                <a:gd name="T6" fmla="*/ 123 w 188"/>
                <a:gd name="T7" fmla="*/ 124 h 153"/>
                <a:gd name="T8" fmla="*/ 65 w 188"/>
                <a:gd name="T9" fmla="*/ 149 h 153"/>
                <a:gd name="T10" fmla="*/ 31 w 188"/>
                <a:gd name="T11" fmla="*/ 152 h 153"/>
                <a:gd name="T12" fmla="*/ 0 w 188"/>
                <a:gd name="T13" fmla="*/ 144 h 153"/>
                <a:gd name="T14" fmla="*/ 48 w 188"/>
                <a:gd name="T15" fmla="*/ 114 h 153"/>
                <a:gd name="T16" fmla="*/ 77 w 188"/>
                <a:gd name="T17" fmla="*/ 72 h 153"/>
                <a:gd name="T18" fmla="*/ 103 w 188"/>
                <a:gd name="T19" fmla="*/ 25 h 153"/>
                <a:gd name="T20" fmla="*/ 140 w 188"/>
                <a:gd name="T21" fmla="*/ 1 h 153"/>
                <a:gd name="T22" fmla="*/ 182 w 188"/>
                <a:gd name="T23" fmla="*/ 22 h 153"/>
                <a:gd name="T24" fmla="*/ 183 w 188"/>
                <a:gd name="T25" fmla="*/ 6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8" h="153">
                  <a:moveTo>
                    <a:pt x="183" y="61"/>
                  </a:moveTo>
                  <a:cubicBezTo>
                    <a:pt x="177" y="81"/>
                    <a:pt x="160" y="97"/>
                    <a:pt x="140" y="103"/>
                  </a:cubicBezTo>
                  <a:cubicBezTo>
                    <a:pt x="117" y="109"/>
                    <a:pt x="94" y="102"/>
                    <a:pt x="79" y="84"/>
                  </a:cubicBezTo>
                  <a:cubicBezTo>
                    <a:pt x="80" y="108"/>
                    <a:pt x="99" y="124"/>
                    <a:pt x="123" y="124"/>
                  </a:cubicBezTo>
                  <a:cubicBezTo>
                    <a:pt x="108" y="139"/>
                    <a:pt x="86" y="146"/>
                    <a:pt x="65" y="149"/>
                  </a:cubicBezTo>
                  <a:cubicBezTo>
                    <a:pt x="54" y="151"/>
                    <a:pt x="42" y="153"/>
                    <a:pt x="31" y="152"/>
                  </a:cubicBezTo>
                  <a:cubicBezTo>
                    <a:pt x="21" y="152"/>
                    <a:pt x="9" y="150"/>
                    <a:pt x="0" y="144"/>
                  </a:cubicBezTo>
                  <a:cubicBezTo>
                    <a:pt x="19" y="139"/>
                    <a:pt x="35" y="128"/>
                    <a:pt x="48" y="114"/>
                  </a:cubicBezTo>
                  <a:cubicBezTo>
                    <a:pt x="60" y="101"/>
                    <a:pt x="69" y="87"/>
                    <a:pt x="77" y="72"/>
                  </a:cubicBezTo>
                  <a:cubicBezTo>
                    <a:pt x="85" y="56"/>
                    <a:pt x="92" y="39"/>
                    <a:pt x="103" y="25"/>
                  </a:cubicBezTo>
                  <a:cubicBezTo>
                    <a:pt x="112" y="12"/>
                    <a:pt x="124" y="2"/>
                    <a:pt x="140" y="1"/>
                  </a:cubicBezTo>
                  <a:cubicBezTo>
                    <a:pt x="157" y="0"/>
                    <a:pt x="174" y="7"/>
                    <a:pt x="182" y="22"/>
                  </a:cubicBezTo>
                  <a:cubicBezTo>
                    <a:pt x="188" y="35"/>
                    <a:pt x="187" y="48"/>
                    <a:pt x="183" y="6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051315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 Short Dark">
    <p:bg>
      <p:bgPr>
        <a:gradFill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8">
            <a:extLst>
              <a:ext uri="{FF2B5EF4-FFF2-40B4-BE49-F238E27FC236}">
                <a16:creationId xmlns:a16="http://schemas.microsoft.com/office/drawing/2014/main" id="{7D3C6BC6-663C-C133-76CE-9BAB02DAEDB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967663" y="1122907"/>
            <a:ext cx="4224338" cy="5735093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Insert Picture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98C3DB19-4889-48D4-AFFB-A1B288723D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71" y="1125538"/>
            <a:ext cx="7337213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13880FA-A20C-4104-8D48-DC99C13D0B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1628800"/>
            <a:ext cx="7337213" cy="4824388"/>
          </a:xfrm>
          <a:prstGeom prst="rect">
            <a:avLst/>
          </a:prstGeom>
        </p:spPr>
        <p:txBody>
          <a:bodyPr rIns="216000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buClrTx/>
              <a:defRPr sz="1400">
                <a:solidFill>
                  <a:schemeClr val="bg1"/>
                </a:solidFill>
              </a:defRPr>
            </a:lvl2pPr>
            <a:lvl3pPr>
              <a:buClrTx/>
              <a:defRPr sz="1400">
                <a:solidFill>
                  <a:schemeClr val="bg1"/>
                </a:solidFill>
              </a:defRPr>
            </a:lvl3pPr>
            <a:lvl4pPr>
              <a:buClrTx/>
              <a:defRPr sz="1200">
                <a:solidFill>
                  <a:schemeClr val="bg1"/>
                </a:solidFill>
              </a:defRPr>
            </a:lvl4pPr>
            <a:lvl5pPr>
              <a:buClrTx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C5D9B30-9A2C-505E-36D0-05AF0DBAAC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4" name="Group 37">
            <a:extLst>
              <a:ext uri="{FF2B5EF4-FFF2-40B4-BE49-F238E27FC236}">
                <a16:creationId xmlns:a16="http://schemas.microsoft.com/office/drawing/2014/main" id="{9B4384E0-E70E-1D2F-00F4-6E8113E6115B}"/>
              </a:ext>
            </a:extLst>
          </p:cNvPr>
          <p:cNvGrpSpPr/>
          <p:nvPr userDrawn="1"/>
        </p:nvGrpSpPr>
        <p:grpSpPr>
          <a:xfrm>
            <a:off x="11501102" y="171573"/>
            <a:ext cx="419436" cy="388087"/>
            <a:chOff x="5481638" y="2859088"/>
            <a:chExt cx="1231900" cy="1139825"/>
          </a:xfrm>
          <a:solidFill>
            <a:schemeClr val="bg1"/>
          </a:solidFill>
        </p:grpSpPr>
        <p:sp>
          <p:nvSpPr>
            <p:cNvPr id="5" name="Freeform 320">
              <a:extLst>
                <a:ext uri="{FF2B5EF4-FFF2-40B4-BE49-F238E27FC236}">
                  <a16:creationId xmlns:a16="http://schemas.microsoft.com/office/drawing/2014/main" id="{DEADA429-607C-23EB-6562-F893EB6AB13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1638" y="2859088"/>
              <a:ext cx="1203325" cy="1041400"/>
            </a:xfrm>
            <a:custGeom>
              <a:avLst/>
              <a:gdLst>
                <a:gd name="T0" fmla="*/ 229 w 281"/>
                <a:gd name="T1" fmla="*/ 105 h 243"/>
                <a:gd name="T2" fmla="*/ 186 w 281"/>
                <a:gd name="T3" fmla="*/ 141 h 243"/>
                <a:gd name="T4" fmla="*/ 154 w 281"/>
                <a:gd name="T5" fmla="*/ 194 h 243"/>
                <a:gd name="T6" fmla="*/ 112 w 281"/>
                <a:gd name="T7" fmla="*/ 233 h 243"/>
                <a:gd name="T8" fmla="*/ 53 w 281"/>
                <a:gd name="T9" fmla="*/ 236 h 243"/>
                <a:gd name="T10" fmla="*/ 0 w 281"/>
                <a:gd name="T11" fmla="*/ 159 h 243"/>
                <a:gd name="T12" fmla="*/ 153 w 281"/>
                <a:gd name="T13" fmla="*/ 0 h 243"/>
                <a:gd name="T14" fmla="*/ 153 w 281"/>
                <a:gd name="T15" fmla="*/ 0 h 243"/>
                <a:gd name="T16" fmla="*/ 160 w 281"/>
                <a:gd name="T17" fmla="*/ 3 h 243"/>
                <a:gd name="T18" fmla="*/ 237 w 281"/>
                <a:gd name="T19" fmla="*/ 51 h 243"/>
                <a:gd name="T20" fmla="*/ 281 w 281"/>
                <a:gd name="T21" fmla="*/ 118 h 243"/>
                <a:gd name="T22" fmla="*/ 229 w 281"/>
                <a:gd name="T23" fmla="*/ 10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1" h="243">
                  <a:moveTo>
                    <a:pt x="229" y="105"/>
                  </a:moveTo>
                  <a:cubicBezTo>
                    <a:pt x="210" y="109"/>
                    <a:pt x="196" y="125"/>
                    <a:pt x="186" y="141"/>
                  </a:cubicBezTo>
                  <a:cubicBezTo>
                    <a:pt x="175" y="159"/>
                    <a:pt x="166" y="177"/>
                    <a:pt x="154" y="194"/>
                  </a:cubicBezTo>
                  <a:cubicBezTo>
                    <a:pt x="143" y="211"/>
                    <a:pt x="130" y="225"/>
                    <a:pt x="112" y="233"/>
                  </a:cubicBezTo>
                  <a:cubicBezTo>
                    <a:pt x="93" y="242"/>
                    <a:pt x="72" y="243"/>
                    <a:pt x="53" y="236"/>
                  </a:cubicBezTo>
                  <a:cubicBezTo>
                    <a:pt x="21" y="224"/>
                    <a:pt x="0" y="192"/>
                    <a:pt x="0" y="159"/>
                  </a:cubicBezTo>
                  <a:cubicBezTo>
                    <a:pt x="0" y="72"/>
                    <a:pt x="119" y="42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55" y="1"/>
                    <a:pt x="158" y="2"/>
                    <a:pt x="160" y="3"/>
                  </a:cubicBezTo>
                  <a:cubicBezTo>
                    <a:pt x="188" y="15"/>
                    <a:pt x="214" y="30"/>
                    <a:pt x="237" y="51"/>
                  </a:cubicBezTo>
                  <a:cubicBezTo>
                    <a:pt x="258" y="70"/>
                    <a:pt x="273" y="92"/>
                    <a:pt x="281" y="118"/>
                  </a:cubicBezTo>
                  <a:cubicBezTo>
                    <a:pt x="268" y="105"/>
                    <a:pt x="247" y="100"/>
                    <a:pt x="229" y="10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321">
              <a:extLst>
                <a:ext uri="{FF2B5EF4-FFF2-40B4-BE49-F238E27FC236}">
                  <a16:creationId xmlns:a16="http://schemas.microsoft.com/office/drawing/2014/main" id="{FE473CBE-1F40-1799-0531-AC4BB82893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0263" y="3343275"/>
              <a:ext cx="803275" cy="655638"/>
            </a:xfrm>
            <a:custGeom>
              <a:avLst/>
              <a:gdLst>
                <a:gd name="T0" fmla="*/ 183 w 188"/>
                <a:gd name="T1" fmla="*/ 61 h 153"/>
                <a:gd name="T2" fmla="*/ 140 w 188"/>
                <a:gd name="T3" fmla="*/ 103 h 153"/>
                <a:gd name="T4" fmla="*/ 79 w 188"/>
                <a:gd name="T5" fmla="*/ 84 h 153"/>
                <a:gd name="T6" fmla="*/ 123 w 188"/>
                <a:gd name="T7" fmla="*/ 124 h 153"/>
                <a:gd name="T8" fmla="*/ 65 w 188"/>
                <a:gd name="T9" fmla="*/ 149 h 153"/>
                <a:gd name="T10" fmla="*/ 31 w 188"/>
                <a:gd name="T11" fmla="*/ 152 h 153"/>
                <a:gd name="T12" fmla="*/ 0 w 188"/>
                <a:gd name="T13" fmla="*/ 144 h 153"/>
                <a:gd name="T14" fmla="*/ 48 w 188"/>
                <a:gd name="T15" fmla="*/ 114 h 153"/>
                <a:gd name="T16" fmla="*/ 77 w 188"/>
                <a:gd name="T17" fmla="*/ 72 h 153"/>
                <a:gd name="T18" fmla="*/ 103 w 188"/>
                <a:gd name="T19" fmla="*/ 25 h 153"/>
                <a:gd name="T20" fmla="*/ 140 w 188"/>
                <a:gd name="T21" fmla="*/ 1 h 153"/>
                <a:gd name="T22" fmla="*/ 182 w 188"/>
                <a:gd name="T23" fmla="*/ 22 h 153"/>
                <a:gd name="T24" fmla="*/ 183 w 188"/>
                <a:gd name="T25" fmla="*/ 6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8" h="153">
                  <a:moveTo>
                    <a:pt x="183" y="61"/>
                  </a:moveTo>
                  <a:cubicBezTo>
                    <a:pt x="177" y="81"/>
                    <a:pt x="160" y="97"/>
                    <a:pt x="140" y="103"/>
                  </a:cubicBezTo>
                  <a:cubicBezTo>
                    <a:pt x="117" y="109"/>
                    <a:pt x="94" y="102"/>
                    <a:pt x="79" y="84"/>
                  </a:cubicBezTo>
                  <a:cubicBezTo>
                    <a:pt x="80" y="108"/>
                    <a:pt x="99" y="124"/>
                    <a:pt x="123" y="124"/>
                  </a:cubicBezTo>
                  <a:cubicBezTo>
                    <a:pt x="108" y="139"/>
                    <a:pt x="86" y="146"/>
                    <a:pt x="65" y="149"/>
                  </a:cubicBezTo>
                  <a:cubicBezTo>
                    <a:pt x="54" y="151"/>
                    <a:pt x="42" y="153"/>
                    <a:pt x="31" y="152"/>
                  </a:cubicBezTo>
                  <a:cubicBezTo>
                    <a:pt x="21" y="152"/>
                    <a:pt x="9" y="150"/>
                    <a:pt x="0" y="144"/>
                  </a:cubicBezTo>
                  <a:cubicBezTo>
                    <a:pt x="19" y="139"/>
                    <a:pt x="35" y="128"/>
                    <a:pt x="48" y="114"/>
                  </a:cubicBezTo>
                  <a:cubicBezTo>
                    <a:pt x="60" y="101"/>
                    <a:pt x="69" y="87"/>
                    <a:pt x="77" y="72"/>
                  </a:cubicBezTo>
                  <a:cubicBezTo>
                    <a:pt x="85" y="56"/>
                    <a:pt x="92" y="39"/>
                    <a:pt x="103" y="25"/>
                  </a:cubicBezTo>
                  <a:cubicBezTo>
                    <a:pt x="112" y="12"/>
                    <a:pt x="124" y="2"/>
                    <a:pt x="140" y="1"/>
                  </a:cubicBezTo>
                  <a:cubicBezTo>
                    <a:pt x="157" y="0"/>
                    <a:pt x="174" y="7"/>
                    <a:pt x="182" y="22"/>
                  </a:cubicBezTo>
                  <a:cubicBezTo>
                    <a:pt x="188" y="35"/>
                    <a:pt x="187" y="48"/>
                    <a:pt x="183" y="6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84634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>
        <p15:guide id="1" pos="5019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 Short Dark">
    <p:bg>
      <p:bgPr>
        <a:gradFill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8">
            <a:extLst>
              <a:ext uri="{FF2B5EF4-FFF2-40B4-BE49-F238E27FC236}">
                <a16:creationId xmlns:a16="http://schemas.microsoft.com/office/drawing/2014/main" id="{D947A8D9-3FE6-9441-652F-400363E7066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96001" y="1122907"/>
            <a:ext cx="6096000" cy="5735093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Insert Picture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859F9A52-5C59-4371-8261-06DAE7261A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71" y="1125538"/>
            <a:ext cx="5545800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33B64D18-C45E-440C-9C66-6F1DDAC017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1627200"/>
            <a:ext cx="5545137" cy="4825988"/>
          </a:xfrm>
          <a:prstGeom prst="rect">
            <a:avLst/>
          </a:prstGeom>
        </p:spPr>
        <p:txBody>
          <a:bodyPr vert="horz" lIns="0" tIns="0" rIns="216000" bIns="0" rtlCol="0">
            <a:noAutofit/>
          </a:bodyPr>
          <a:lstStyle>
            <a:lvl1pPr>
              <a:defRPr lang="en-US" sz="1400" smtClean="0">
                <a:solidFill>
                  <a:schemeClr val="bg1"/>
                </a:solidFill>
              </a:defRPr>
            </a:lvl1pPr>
            <a:lvl2pPr marL="180975" indent="-180975">
              <a:buClrTx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0000" indent="-180000">
              <a:buClrTx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80000">
              <a:buClrTx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9138" indent="-180975">
              <a:buClrTx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325044F-30C6-C6D9-84C0-2B925714F5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4" name="Group 37">
            <a:extLst>
              <a:ext uri="{FF2B5EF4-FFF2-40B4-BE49-F238E27FC236}">
                <a16:creationId xmlns:a16="http://schemas.microsoft.com/office/drawing/2014/main" id="{7A334606-8EE3-365F-25B8-44D290069C7A}"/>
              </a:ext>
            </a:extLst>
          </p:cNvPr>
          <p:cNvGrpSpPr/>
          <p:nvPr userDrawn="1"/>
        </p:nvGrpSpPr>
        <p:grpSpPr>
          <a:xfrm>
            <a:off x="11501102" y="171573"/>
            <a:ext cx="419436" cy="388087"/>
            <a:chOff x="5481638" y="2859088"/>
            <a:chExt cx="1231900" cy="1139825"/>
          </a:xfrm>
          <a:solidFill>
            <a:schemeClr val="bg1"/>
          </a:solidFill>
        </p:grpSpPr>
        <p:sp>
          <p:nvSpPr>
            <p:cNvPr id="5" name="Freeform 320">
              <a:extLst>
                <a:ext uri="{FF2B5EF4-FFF2-40B4-BE49-F238E27FC236}">
                  <a16:creationId xmlns:a16="http://schemas.microsoft.com/office/drawing/2014/main" id="{9327B499-75BC-B2BA-955E-89BC1B5BA0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1638" y="2859088"/>
              <a:ext cx="1203325" cy="1041400"/>
            </a:xfrm>
            <a:custGeom>
              <a:avLst/>
              <a:gdLst>
                <a:gd name="T0" fmla="*/ 229 w 281"/>
                <a:gd name="T1" fmla="*/ 105 h 243"/>
                <a:gd name="T2" fmla="*/ 186 w 281"/>
                <a:gd name="T3" fmla="*/ 141 h 243"/>
                <a:gd name="T4" fmla="*/ 154 w 281"/>
                <a:gd name="T5" fmla="*/ 194 h 243"/>
                <a:gd name="T6" fmla="*/ 112 w 281"/>
                <a:gd name="T7" fmla="*/ 233 h 243"/>
                <a:gd name="T8" fmla="*/ 53 w 281"/>
                <a:gd name="T9" fmla="*/ 236 h 243"/>
                <a:gd name="T10" fmla="*/ 0 w 281"/>
                <a:gd name="T11" fmla="*/ 159 h 243"/>
                <a:gd name="T12" fmla="*/ 153 w 281"/>
                <a:gd name="T13" fmla="*/ 0 h 243"/>
                <a:gd name="T14" fmla="*/ 153 w 281"/>
                <a:gd name="T15" fmla="*/ 0 h 243"/>
                <a:gd name="T16" fmla="*/ 160 w 281"/>
                <a:gd name="T17" fmla="*/ 3 h 243"/>
                <a:gd name="T18" fmla="*/ 237 w 281"/>
                <a:gd name="T19" fmla="*/ 51 h 243"/>
                <a:gd name="T20" fmla="*/ 281 w 281"/>
                <a:gd name="T21" fmla="*/ 118 h 243"/>
                <a:gd name="T22" fmla="*/ 229 w 281"/>
                <a:gd name="T23" fmla="*/ 10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1" h="243">
                  <a:moveTo>
                    <a:pt x="229" y="105"/>
                  </a:moveTo>
                  <a:cubicBezTo>
                    <a:pt x="210" y="109"/>
                    <a:pt x="196" y="125"/>
                    <a:pt x="186" y="141"/>
                  </a:cubicBezTo>
                  <a:cubicBezTo>
                    <a:pt x="175" y="159"/>
                    <a:pt x="166" y="177"/>
                    <a:pt x="154" y="194"/>
                  </a:cubicBezTo>
                  <a:cubicBezTo>
                    <a:pt x="143" y="211"/>
                    <a:pt x="130" y="225"/>
                    <a:pt x="112" y="233"/>
                  </a:cubicBezTo>
                  <a:cubicBezTo>
                    <a:pt x="93" y="242"/>
                    <a:pt x="72" y="243"/>
                    <a:pt x="53" y="236"/>
                  </a:cubicBezTo>
                  <a:cubicBezTo>
                    <a:pt x="21" y="224"/>
                    <a:pt x="0" y="192"/>
                    <a:pt x="0" y="159"/>
                  </a:cubicBezTo>
                  <a:cubicBezTo>
                    <a:pt x="0" y="72"/>
                    <a:pt x="119" y="42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55" y="1"/>
                    <a:pt x="158" y="2"/>
                    <a:pt x="160" y="3"/>
                  </a:cubicBezTo>
                  <a:cubicBezTo>
                    <a:pt x="188" y="15"/>
                    <a:pt x="214" y="30"/>
                    <a:pt x="237" y="51"/>
                  </a:cubicBezTo>
                  <a:cubicBezTo>
                    <a:pt x="258" y="70"/>
                    <a:pt x="273" y="92"/>
                    <a:pt x="281" y="118"/>
                  </a:cubicBezTo>
                  <a:cubicBezTo>
                    <a:pt x="268" y="105"/>
                    <a:pt x="247" y="100"/>
                    <a:pt x="229" y="10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321">
              <a:extLst>
                <a:ext uri="{FF2B5EF4-FFF2-40B4-BE49-F238E27FC236}">
                  <a16:creationId xmlns:a16="http://schemas.microsoft.com/office/drawing/2014/main" id="{830903CF-8165-AFC6-912A-B0D50B5352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0263" y="3343275"/>
              <a:ext cx="803275" cy="655638"/>
            </a:xfrm>
            <a:custGeom>
              <a:avLst/>
              <a:gdLst>
                <a:gd name="T0" fmla="*/ 183 w 188"/>
                <a:gd name="T1" fmla="*/ 61 h 153"/>
                <a:gd name="T2" fmla="*/ 140 w 188"/>
                <a:gd name="T3" fmla="*/ 103 h 153"/>
                <a:gd name="T4" fmla="*/ 79 w 188"/>
                <a:gd name="T5" fmla="*/ 84 h 153"/>
                <a:gd name="T6" fmla="*/ 123 w 188"/>
                <a:gd name="T7" fmla="*/ 124 h 153"/>
                <a:gd name="T8" fmla="*/ 65 w 188"/>
                <a:gd name="T9" fmla="*/ 149 h 153"/>
                <a:gd name="T10" fmla="*/ 31 w 188"/>
                <a:gd name="T11" fmla="*/ 152 h 153"/>
                <a:gd name="T12" fmla="*/ 0 w 188"/>
                <a:gd name="T13" fmla="*/ 144 h 153"/>
                <a:gd name="T14" fmla="*/ 48 w 188"/>
                <a:gd name="T15" fmla="*/ 114 h 153"/>
                <a:gd name="T16" fmla="*/ 77 w 188"/>
                <a:gd name="T17" fmla="*/ 72 h 153"/>
                <a:gd name="T18" fmla="*/ 103 w 188"/>
                <a:gd name="T19" fmla="*/ 25 h 153"/>
                <a:gd name="T20" fmla="*/ 140 w 188"/>
                <a:gd name="T21" fmla="*/ 1 h 153"/>
                <a:gd name="T22" fmla="*/ 182 w 188"/>
                <a:gd name="T23" fmla="*/ 22 h 153"/>
                <a:gd name="T24" fmla="*/ 183 w 188"/>
                <a:gd name="T25" fmla="*/ 6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8" h="153">
                  <a:moveTo>
                    <a:pt x="183" y="61"/>
                  </a:moveTo>
                  <a:cubicBezTo>
                    <a:pt x="177" y="81"/>
                    <a:pt x="160" y="97"/>
                    <a:pt x="140" y="103"/>
                  </a:cubicBezTo>
                  <a:cubicBezTo>
                    <a:pt x="117" y="109"/>
                    <a:pt x="94" y="102"/>
                    <a:pt x="79" y="84"/>
                  </a:cubicBezTo>
                  <a:cubicBezTo>
                    <a:pt x="80" y="108"/>
                    <a:pt x="99" y="124"/>
                    <a:pt x="123" y="124"/>
                  </a:cubicBezTo>
                  <a:cubicBezTo>
                    <a:pt x="108" y="139"/>
                    <a:pt x="86" y="146"/>
                    <a:pt x="65" y="149"/>
                  </a:cubicBezTo>
                  <a:cubicBezTo>
                    <a:pt x="54" y="151"/>
                    <a:pt x="42" y="153"/>
                    <a:pt x="31" y="152"/>
                  </a:cubicBezTo>
                  <a:cubicBezTo>
                    <a:pt x="21" y="152"/>
                    <a:pt x="9" y="150"/>
                    <a:pt x="0" y="144"/>
                  </a:cubicBezTo>
                  <a:cubicBezTo>
                    <a:pt x="19" y="139"/>
                    <a:pt x="35" y="128"/>
                    <a:pt x="48" y="114"/>
                  </a:cubicBezTo>
                  <a:cubicBezTo>
                    <a:pt x="60" y="101"/>
                    <a:pt x="69" y="87"/>
                    <a:pt x="77" y="72"/>
                  </a:cubicBezTo>
                  <a:cubicBezTo>
                    <a:pt x="85" y="56"/>
                    <a:pt x="92" y="39"/>
                    <a:pt x="103" y="25"/>
                  </a:cubicBezTo>
                  <a:cubicBezTo>
                    <a:pt x="112" y="12"/>
                    <a:pt x="124" y="2"/>
                    <a:pt x="140" y="1"/>
                  </a:cubicBezTo>
                  <a:cubicBezTo>
                    <a:pt x="157" y="0"/>
                    <a:pt x="174" y="7"/>
                    <a:pt x="182" y="22"/>
                  </a:cubicBezTo>
                  <a:cubicBezTo>
                    <a:pt x="188" y="35"/>
                    <a:pt x="187" y="48"/>
                    <a:pt x="183" y="6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802065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 Short Dark">
    <p:bg>
      <p:bgPr>
        <a:gradFill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40C8F40-0AE5-4281-9868-B3C794BF6FD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-1" y="0"/>
            <a:ext cx="4208053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add picture and send picture to back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DE5BD221-7593-42BD-A842-EFACB10DAB7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44744" y="1126800"/>
            <a:ext cx="6962544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A6C5C35D-CE7D-48CD-A1B2-353FFA53AEE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5407" y="1627200"/>
            <a:ext cx="6962544" cy="48259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400" smtClean="0">
                <a:solidFill>
                  <a:schemeClr val="bg1"/>
                </a:solidFill>
              </a:defRPr>
            </a:lvl1pPr>
            <a:lvl2pPr marL="180975" indent="-180975">
              <a:buClrTx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0000" indent="-180000">
              <a:buClrTx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80000">
              <a:buClrTx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9138" indent="-180975">
              <a:buClrTx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4" name="Groupe 1">
            <a:extLst>
              <a:ext uri="{FF2B5EF4-FFF2-40B4-BE49-F238E27FC236}">
                <a16:creationId xmlns:a16="http://schemas.microsoft.com/office/drawing/2014/main" id="{DFFA4EA6-56A9-4F86-ABC0-8D91183AD408}"/>
              </a:ext>
            </a:extLst>
          </p:cNvPr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22" name="Freeform 13">
              <a:extLst>
                <a:ext uri="{FF2B5EF4-FFF2-40B4-BE49-F238E27FC236}">
                  <a16:creationId xmlns:a16="http://schemas.microsoft.com/office/drawing/2014/main" id="{C156B522-A0C0-42B8-BB11-65082FE767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4">
              <a:extLst>
                <a:ext uri="{FF2B5EF4-FFF2-40B4-BE49-F238E27FC236}">
                  <a16:creationId xmlns:a16="http://schemas.microsoft.com/office/drawing/2014/main" id="{43AD94EE-7857-4B4F-8194-A523D32A35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3D8BFFB-83BD-8B73-4F5E-285DBB5281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4744" y="260350"/>
            <a:ext cx="6978640" cy="7921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3" name="Group 37">
            <a:extLst>
              <a:ext uri="{FF2B5EF4-FFF2-40B4-BE49-F238E27FC236}">
                <a16:creationId xmlns:a16="http://schemas.microsoft.com/office/drawing/2014/main" id="{F75C5998-60B8-E90F-ABC5-B2B44AE3671E}"/>
              </a:ext>
            </a:extLst>
          </p:cNvPr>
          <p:cNvGrpSpPr/>
          <p:nvPr userDrawn="1"/>
        </p:nvGrpSpPr>
        <p:grpSpPr>
          <a:xfrm>
            <a:off x="11501102" y="171573"/>
            <a:ext cx="419436" cy="388087"/>
            <a:chOff x="5481638" y="2859088"/>
            <a:chExt cx="1231900" cy="1139825"/>
          </a:xfrm>
          <a:solidFill>
            <a:schemeClr val="bg1"/>
          </a:solidFill>
        </p:grpSpPr>
        <p:sp>
          <p:nvSpPr>
            <p:cNvPr id="4" name="Freeform 320">
              <a:extLst>
                <a:ext uri="{FF2B5EF4-FFF2-40B4-BE49-F238E27FC236}">
                  <a16:creationId xmlns:a16="http://schemas.microsoft.com/office/drawing/2014/main" id="{7AA8B914-E494-3BE7-D1C9-625A618D7BB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1638" y="2859088"/>
              <a:ext cx="1203325" cy="1041400"/>
            </a:xfrm>
            <a:custGeom>
              <a:avLst/>
              <a:gdLst>
                <a:gd name="T0" fmla="*/ 229 w 281"/>
                <a:gd name="T1" fmla="*/ 105 h 243"/>
                <a:gd name="T2" fmla="*/ 186 w 281"/>
                <a:gd name="T3" fmla="*/ 141 h 243"/>
                <a:gd name="T4" fmla="*/ 154 w 281"/>
                <a:gd name="T5" fmla="*/ 194 h 243"/>
                <a:gd name="T6" fmla="*/ 112 w 281"/>
                <a:gd name="T7" fmla="*/ 233 h 243"/>
                <a:gd name="T8" fmla="*/ 53 w 281"/>
                <a:gd name="T9" fmla="*/ 236 h 243"/>
                <a:gd name="T10" fmla="*/ 0 w 281"/>
                <a:gd name="T11" fmla="*/ 159 h 243"/>
                <a:gd name="T12" fmla="*/ 153 w 281"/>
                <a:gd name="T13" fmla="*/ 0 h 243"/>
                <a:gd name="T14" fmla="*/ 153 w 281"/>
                <a:gd name="T15" fmla="*/ 0 h 243"/>
                <a:gd name="T16" fmla="*/ 160 w 281"/>
                <a:gd name="T17" fmla="*/ 3 h 243"/>
                <a:gd name="T18" fmla="*/ 237 w 281"/>
                <a:gd name="T19" fmla="*/ 51 h 243"/>
                <a:gd name="T20" fmla="*/ 281 w 281"/>
                <a:gd name="T21" fmla="*/ 118 h 243"/>
                <a:gd name="T22" fmla="*/ 229 w 281"/>
                <a:gd name="T23" fmla="*/ 10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1" h="243">
                  <a:moveTo>
                    <a:pt x="229" y="105"/>
                  </a:moveTo>
                  <a:cubicBezTo>
                    <a:pt x="210" y="109"/>
                    <a:pt x="196" y="125"/>
                    <a:pt x="186" y="141"/>
                  </a:cubicBezTo>
                  <a:cubicBezTo>
                    <a:pt x="175" y="159"/>
                    <a:pt x="166" y="177"/>
                    <a:pt x="154" y="194"/>
                  </a:cubicBezTo>
                  <a:cubicBezTo>
                    <a:pt x="143" y="211"/>
                    <a:pt x="130" y="225"/>
                    <a:pt x="112" y="233"/>
                  </a:cubicBezTo>
                  <a:cubicBezTo>
                    <a:pt x="93" y="242"/>
                    <a:pt x="72" y="243"/>
                    <a:pt x="53" y="236"/>
                  </a:cubicBezTo>
                  <a:cubicBezTo>
                    <a:pt x="21" y="224"/>
                    <a:pt x="0" y="192"/>
                    <a:pt x="0" y="159"/>
                  </a:cubicBezTo>
                  <a:cubicBezTo>
                    <a:pt x="0" y="72"/>
                    <a:pt x="119" y="42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55" y="1"/>
                    <a:pt x="158" y="2"/>
                    <a:pt x="160" y="3"/>
                  </a:cubicBezTo>
                  <a:cubicBezTo>
                    <a:pt x="188" y="15"/>
                    <a:pt x="214" y="30"/>
                    <a:pt x="237" y="51"/>
                  </a:cubicBezTo>
                  <a:cubicBezTo>
                    <a:pt x="258" y="70"/>
                    <a:pt x="273" y="92"/>
                    <a:pt x="281" y="118"/>
                  </a:cubicBezTo>
                  <a:cubicBezTo>
                    <a:pt x="268" y="105"/>
                    <a:pt x="247" y="100"/>
                    <a:pt x="229" y="10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" name="Freeform 321">
              <a:extLst>
                <a:ext uri="{FF2B5EF4-FFF2-40B4-BE49-F238E27FC236}">
                  <a16:creationId xmlns:a16="http://schemas.microsoft.com/office/drawing/2014/main" id="{F8C9E80B-66E6-FE75-51F4-FE53C769FD6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0263" y="3343275"/>
              <a:ext cx="803275" cy="655638"/>
            </a:xfrm>
            <a:custGeom>
              <a:avLst/>
              <a:gdLst>
                <a:gd name="T0" fmla="*/ 183 w 188"/>
                <a:gd name="T1" fmla="*/ 61 h 153"/>
                <a:gd name="T2" fmla="*/ 140 w 188"/>
                <a:gd name="T3" fmla="*/ 103 h 153"/>
                <a:gd name="T4" fmla="*/ 79 w 188"/>
                <a:gd name="T5" fmla="*/ 84 h 153"/>
                <a:gd name="T6" fmla="*/ 123 w 188"/>
                <a:gd name="T7" fmla="*/ 124 h 153"/>
                <a:gd name="T8" fmla="*/ 65 w 188"/>
                <a:gd name="T9" fmla="*/ 149 h 153"/>
                <a:gd name="T10" fmla="*/ 31 w 188"/>
                <a:gd name="T11" fmla="*/ 152 h 153"/>
                <a:gd name="T12" fmla="*/ 0 w 188"/>
                <a:gd name="T13" fmla="*/ 144 h 153"/>
                <a:gd name="T14" fmla="*/ 48 w 188"/>
                <a:gd name="T15" fmla="*/ 114 h 153"/>
                <a:gd name="T16" fmla="*/ 77 w 188"/>
                <a:gd name="T17" fmla="*/ 72 h 153"/>
                <a:gd name="T18" fmla="*/ 103 w 188"/>
                <a:gd name="T19" fmla="*/ 25 h 153"/>
                <a:gd name="T20" fmla="*/ 140 w 188"/>
                <a:gd name="T21" fmla="*/ 1 h 153"/>
                <a:gd name="T22" fmla="*/ 182 w 188"/>
                <a:gd name="T23" fmla="*/ 22 h 153"/>
                <a:gd name="T24" fmla="*/ 183 w 188"/>
                <a:gd name="T25" fmla="*/ 6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8" h="153">
                  <a:moveTo>
                    <a:pt x="183" y="61"/>
                  </a:moveTo>
                  <a:cubicBezTo>
                    <a:pt x="177" y="81"/>
                    <a:pt x="160" y="97"/>
                    <a:pt x="140" y="103"/>
                  </a:cubicBezTo>
                  <a:cubicBezTo>
                    <a:pt x="117" y="109"/>
                    <a:pt x="94" y="102"/>
                    <a:pt x="79" y="84"/>
                  </a:cubicBezTo>
                  <a:cubicBezTo>
                    <a:pt x="80" y="108"/>
                    <a:pt x="99" y="124"/>
                    <a:pt x="123" y="124"/>
                  </a:cubicBezTo>
                  <a:cubicBezTo>
                    <a:pt x="108" y="139"/>
                    <a:pt x="86" y="146"/>
                    <a:pt x="65" y="149"/>
                  </a:cubicBezTo>
                  <a:cubicBezTo>
                    <a:pt x="54" y="151"/>
                    <a:pt x="42" y="153"/>
                    <a:pt x="31" y="152"/>
                  </a:cubicBezTo>
                  <a:cubicBezTo>
                    <a:pt x="21" y="152"/>
                    <a:pt x="9" y="150"/>
                    <a:pt x="0" y="144"/>
                  </a:cubicBezTo>
                  <a:cubicBezTo>
                    <a:pt x="19" y="139"/>
                    <a:pt x="35" y="128"/>
                    <a:pt x="48" y="114"/>
                  </a:cubicBezTo>
                  <a:cubicBezTo>
                    <a:pt x="60" y="101"/>
                    <a:pt x="69" y="87"/>
                    <a:pt x="77" y="72"/>
                  </a:cubicBezTo>
                  <a:cubicBezTo>
                    <a:pt x="85" y="56"/>
                    <a:pt x="92" y="39"/>
                    <a:pt x="103" y="25"/>
                  </a:cubicBezTo>
                  <a:cubicBezTo>
                    <a:pt x="112" y="12"/>
                    <a:pt x="124" y="2"/>
                    <a:pt x="140" y="1"/>
                  </a:cubicBezTo>
                  <a:cubicBezTo>
                    <a:pt x="157" y="0"/>
                    <a:pt x="174" y="7"/>
                    <a:pt x="182" y="22"/>
                  </a:cubicBezTo>
                  <a:cubicBezTo>
                    <a:pt x="188" y="35"/>
                    <a:pt x="187" y="48"/>
                    <a:pt x="183" y="6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47221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>
        <p15:guide id="1" pos="511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Only Short Dark">
    <p:bg>
      <p:bgPr>
        <a:gradFill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8A4E47E-A55F-4490-AD19-D9A415AA57C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add picture and send picture to back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B7C70459-DE10-4F5D-80E6-BAD5BA66267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4032" y="1125538"/>
            <a:ext cx="5047879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4">
            <a:extLst>
              <a:ext uri="{FF2B5EF4-FFF2-40B4-BE49-F238E27FC236}">
                <a16:creationId xmlns:a16="http://schemas.microsoft.com/office/drawing/2014/main" id="{CC59ACB0-A839-47A7-AC17-01C5AED889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4032" y="6907"/>
            <a:ext cx="5047879" cy="11273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A8B886D2-95CB-49D8-B7AE-68DA209E76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4032" y="1627200"/>
            <a:ext cx="5047879" cy="48259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400" smtClean="0">
                <a:solidFill>
                  <a:schemeClr val="bg1"/>
                </a:solidFill>
              </a:defRPr>
            </a:lvl1pPr>
            <a:lvl2pPr marL="180975" indent="-180975">
              <a:buClrTx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0000" indent="-180000">
              <a:buClrTx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80000">
              <a:buClrTx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9138" indent="-180975">
              <a:buClrTx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6" name="Groupe 1">
            <a:extLst>
              <a:ext uri="{FF2B5EF4-FFF2-40B4-BE49-F238E27FC236}">
                <a16:creationId xmlns:a16="http://schemas.microsoft.com/office/drawing/2014/main" id="{E0AE299F-7351-4397-AACC-823584420C74}"/>
              </a:ext>
            </a:extLst>
          </p:cNvPr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22" name="Freeform 13">
              <a:extLst>
                <a:ext uri="{FF2B5EF4-FFF2-40B4-BE49-F238E27FC236}">
                  <a16:creationId xmlns:a16="http://schemas.microsoft.com/office/drawing/2014/main" id="{2EAF937C-9725-44A1-BB6F-11B4974BAD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4">
              <a:extLst>
                <a:ext uri="{FF2B5EF4-FFF2-40B4-BE49-F238E27FC236}">
                  <a16:creationId xmlns:a16="http://schemas.microsoft.com/office/drawing/2014/main" id="{0B23023F-6948-45C1-A879-0B093E949B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2" name="Group 37">
            <a:extLst>
              <a:ext uri="{FF2B5EF4-FFF2-40B4-BE49-F238E27FC236}">
                <a16:creationId xmlns:a16="http://schemas.microsoft.com/office/drawing/2014/main" id="{7A1A8CC8-8DC5-C9DB-BF05-A632200BAA79}"/>
              </a:ext>
            </a:extLst>
          </p:cNvPr>
          <p:cNvGrpSpPr/>
          <p:nvPr userDrawn="1"/>
        </p:nvGrpSpPr>
        <p:grpSpPr>
          <a:xfrm>
            <a:off x="11501102" y="171573"/>
            <a:ext cx="419436" cy="388087"/>
            <a:chOff x="5481638" y="2859088"/>
            <a:chExt cx="1231900" cy="1139825"/>
          </a:xfrm>
          <a:solidFill>
            <a:schemeClr val="bg1"/>
          </a:solidFill>
        </p:grpSpPr>
        <p:sp>
          <p:nvSpPr>
            <p:cNvPr id="3" name="Freeform 320">
              <a:extLst>
                <a:ext uri="{FF2B5EF4-FFF2-40B4-BE49-F238E27FC236}">
                  <a16:creationId xmlns:a16="http://schemas.microsoft.com/office/drawing/2014/main" id="{9FD445ED-7589-8F2E-2555-68F99651CF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1638" y="2859088"/>
              <a:ext cx="1203325" cy="1041400"/>
            </a:xfrm>
            <a:custGeom>
              <a:avLst/>
              <a:gdLst>
                <a:gd name="T0" fmla="*/ 229 w 281"/>
                <a:gd name="T1" fmla="*/ 105 h 243"/>
                <a:gd name="T2" fmla="*/ 186 w 281"/>
                <a:gd name="T3" fmla="*/ 141 h 243"/>
                <a:gd name="T4" fmla="*/ 154 w 281"/>
                <a:gd name="T5" fmla="*/ 194 h 243"/>
                <a:gd name="T6" fmla="*/ 112 w 281"/>
                <a:gd name="T7" fmla="*/ 233 h 243"/>
                <a:gd name="T8" fmla="*/ 53 w 281"/>
                <a:gd name="T9" fmla="*/ 236 h 243"/>
                <a:gd name="T10" fmla="*/ 0 w 281"/>
                <a:gd name="T11" fmla="*/ 159 h 243"/>
                <a:gd name="T12" fmla="*/ 153 w 281"/>
                <a:gd name="T13" fmla="*/ 0 h 243"/>
                <a:gd name="T14" fmla="*/ 153 w 281"/>
                <a:gd name="T15" fmla="*/ 0 h 243"/>
                <a:gd name="T16" fmla="*/ 160 w 281"/>
                <a:gd name="T17" fmla="*/ 3 h 243"/>
                <a:gd name="T18" fmla="*/ 237 w 281"/>
                <a:gd name="T19" fmla="*/ 51 h 243"/>
                <a:gd name="T20" fmla="*/ 281 w 281"/>
                <a:gd name="T21" fmla="*/ 118 h 243"/>
                <a:gd name="T22" fmla="*/ 229 w 281"/>
                <a:gd name="T23" fmla="*/ 10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1" h="243">
                  <a:moveTo>
                    <a:pt x="229" y="105"/>
                  </a:moveTo>
                  <a:cubicBezTo>
                    <a:pt x="210" y="109"/>
                    <a:pt x="196" y="125"/>
                    <a:pt x="186" y="141"/>
                  </a:cubicBezTo>
                  <a:cubicBezTo>
                    <a:pt x="175" y="159"/>
                    <a:pt x="166" y="177"/>
                    <a:pt x="154" y="194"/>
                  </a:cubicBezTo>
                  <a:cubicBezTo>
                    <a:pt x="143" y="211"/>
                    <a:pt x="130" y="225"/>
                    <a:pt x="112" y="233"/>
                  </a:cubicBezTo>
                  <a:cubicBezTo>
                    <a:pt x="93" y="242"/>
                    <a:pt x="72" y="243"/>
                    <a:pt x="53" y="236"/>
                  </a:cubicBezTo>
                  <a:cubicBezTo>
                    <a:pt x="21" y="224"/>
                    <a:pt x="0" y="192"/>
                    <a:pt x="0" y="159"/>
                  </a:cubicBezTo>
                  <a:cubicBezTo>
                    <a:pt x="0" y="72"/>
                    <a:pt x="119" y="42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55" y="1"/>
                    <a:pt x="158" y="2"/>
                    <a:pt x="160" y="3"/>
                  </a:cubicBezTo>
                  <a:cubicBezTo>
                    <a:pt x="188" y="15"/>
                    <a:pt x="214" y="30"/>
                    <a:pt x="237" y="51"/>
                  </a:cubicBezTo>
                  <a:cubicBezTo>
                    <a:pt x="258" y="70"/>
                    <a:pt x="273" y="92"/>
                    <a:pt x="281" y="118"/>
                  </a:cubicBezTo>
                  <a:cubicBezTo>
                    <a:pt x="268" y="105"/>
                    <a:pt x="247" y="100"/>
                    <a:pt x="229" y="10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" name="Freeform 321">
              <a:extLst>
                <a:ext uri="{FF2B5EF4-FFF2-40B4-BE49-F238E27FC236}">
                  <a16:creationId xmlns:a16="http://schemas.microsoft.com/office/drawing/2014/main" id="{D611104C-45C2-A6EE-6C88-7B5A09068B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0263" y="3343275"/>
              <a:ext cx="803275" cy="655638"/>
            </a:xfrm>
            <a:custGeom>
              <a:avLst/>
              <a:gdLst>
                <a:gd name="T0" fmla="*/ 183 w 188"/>
                <a:gd name="T1" fmla="*/ 61 h 153"/>
                <a:gd name="T2" fmla="*/ 140 w 188"/>
                <a:gd name="T3" fmla="*/ 103 h 153"/>
                <a:gd name="T4" fmla="*/ 79 w 188"/>
                <a:gd name="T5" fmla="*/ 84 h 153"/>
                <a:gd name="T6" fmla="*/ 123 w 188"/>
                <a:gd name="T7" fmla="*/ 124 h 153"/>
                <a:gd name="T8" fmla="*/ 65 w 188"/>
                <a:gd name="T9" fmla="*/ 149 h 153"/>
                <a:gd name="T10" fmla="*/ 31 w 188"/>
                <a:gd name="T11" fmla="*/ 152 h 153"/>
                <a:gd name="T12" fmla="*/ 0 w 188"/>
                <a:gd name="T13" fmla="*/ 144 h 153"/>
                <a:gd name="T14" fmla="*/ 48 w 188"/>
                <a:gd name="T15" fmla="*/ 114 h 153"/>
                <a:gd name="T16" fmla="*/ 77 w 188"/>
                <a:gd name="T17" fmla="*/ 72 h 153"/>
                <a:gd name="T18" fmla="*/ 103 w 188"/>
                <a:gd name="T19" fmla="*/ 25 h 153"/>
                <a:gd name="T20" fmla="*/ 140 w 188"/>
                <a:gd name="T21" fmla="*/ 1 h 153"/>
                <a:gd name="T22" fmla="*/ 182 w 188"/>
                <a:gd name="T23" fmla="*/ 22 h 153"/>
                <a:gd name="T24" fmla="*/ 183 w 188"/>
                <a:gd name="T25" fmla="*/ 6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8" h="153">
                  <a:moveTo>
                    <a:pt x="183" y="61"/>
                  </a:moveTo>
                  <a:cubicBezTo>
                    <a:pt x="177" y="81"/>
                    <a:pt x="160" y="97"/>
                    <a:pt x="140" y="103"/>
                  </a:cubicBezTo>
                  <a:cubicBezTo>
                    <a:pt x="117" y="109"/>
                    <a:pt x="94" y="102"/>
                    <a:pt x="79" y="84"/>
                  </a:cubicBezTo>
                  <a:cubicBezTo>
                    <a:pt x="80" y="108"/>
                    <a:pt x="99" y="124"/>
                    <a:pt x="123" y="124"/>
                  </a:cubicBezTo>
                  <a:cubicBezTo>
                    <a:pt x="108" y="139"/>
                    <a:pt x="86" y="146"/>
                    <a:pt x="65" y="149"/>
                  </a:cubicBezTo>
                  <a:cubicBezTo>
                    <a:pt x="54" y="151"/>
                    <a:pt x="42" y="153"/>
                    <a:pt x="31" y="152"/>
                  </a:cubicBezTo>
                  <a:cubicBezTo>
                    <a:pt x="21" y="152"/>
                    <a:pt x="9" y="150"/>
                    <a:pt x="0" y="144"/>
                  </a:cubicBezTo>
                  <a:cubicBezTo>
                    <a:pt x="19" y="139"/>
                    <a:pt x="35" y="128"/>
                    <a:pt x="48" y="114"/>
                  </a:cubicBezTo>
                  <a:cubicBezTo>
                    <a:pt x="60" y="101"/>
                    <a:pt x="69" y="87"/>
                    <a:pt x="77" y="72"/>
                  </a:cubicBezTo>
                  <a:cubicBezTo>
                    <a:pt x="85" y="56"/>
                    <a:pt x="92" y="39"/>
                    <a:pt x="103" y="25"/>
                  </a:cubicBezTo>
                  <a:cubicBezTo>
                    <a:pt x="112" y="12"/>
                    <a:pt x="124" y="2"/>
                    <a:pt x="140" y="1"/>
                  </a:cubicBezTo>
                  <a:cubicBezTo>
                    <a:pt x="157" y="0"/>
                    <a:pt x="174" y="7"/>
                    <a:pt x="182" y="22"/>
                  </a:cubicBezTo>
                  <a:cubicBezTo>
                    <a:pt x="188" y="35"/>
                    <a:pt x="187" y="48"/>
                    <a:pt x="183" y="6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671166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bg>
      <p:bgPr>
        <a:gradFill flip="none" rotWithShape="1">
          <a:gsLst>
            <a:gs pos="0">
              <a:schemeClr val="accent4"/>
            </a:gs>
            <a:gs pos="100000">
              <a:schemeClr val="accent1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7">
            <a:extLst>
              <a:ext uri="{FF2B5EF4-FFF2-40B4-BE49-F238E27FC236}">
                <a16:creationId xmlns:a16="http://schemas.microsoft.com/office/drawing/2014/main" id="{1061E678-75D4-A1A0-2B62-B9EE7897ADC9}"/>
              </a:ext>
            </a:extLst>
          </p:cNvPr>
          <p:cNvGrpSpPr/>
          <p:nvPr userDrawn="1"/>
        </p:nvGrpSpPr>
        <p:grpSpPr>
          <a:xfrm>
            <a:off x="11501102" y="171573"/>
            <a:ext cx="419436" cy="388087"/>
            <a:chOff x="5481638" y="2859088"/>
            <a:chExt cx="1231900" cy="1139825"/>
          </a:xfrm>
          <a:solidFill>
            <a:schemeClr val="bg1"/>
          </a:solidFill>
        </p:grpSpPr>
        <p:sp>
          <p:nvSpPr>
            <p:cNvPr id="4" name="Freeform 320">
              <a:extLst>
                <a:ext uri="{FF2B5EF4-FFF2-40B4-BE49-F238E27FC236}">
                  <a16:creationId xmlns:a16="http://schemas.microsoft.com/office/drawing/2014/main" id="{968249B3-6CEA-36AB-82F2-AC791AB4541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1638" y="2859088"/>
              <a:ext cx="1203325" cy="1041400"/>
            </a:xfrm>
            <a:custGeom>
              <a:avLst/>
              <a:gdLst>
                <a:gd name="T0" fmla="*/ 229 w 281"/>
                <a:gd name="T1" fmla="*/ 105 h 243"/>
                <a:gd name="T2" fmla="*/ 186 w 281"/>
                <a:gd name="T3" fmla="*/ 141 h 243"/>
                <a:gd name="T4" fmla="*/ 154 w 281"/>
                <a:gd name="T5" fmla="*/ 194 h 243"/>
                <a:gd name="T6" fmla="*/ 112 w 281"/>
                <a:gd name="T7" fmla="*/ 233 h 243"/>
                <a:gd name="T8" fmla="*/ 53 w 281"/>
                <a:gd name="T9" fmla="*/ 236 h 243"/>
                <a:gd name="T10" fmla="*/ 0 w 281"/>
                <a:gd name="T11" fmla="*/ 159 h 243"/>
                <a:gd name="T12" fmla="*/ 153 w 281"/>
                <a:gd name="T13" fmla="*/ 0 h 243"/>
                <a:gd name="T14" fmla="*/ 153 w 281"/>
                <a:gd name="T15" fmla="*/ 0 h 243"/>
                <a:gd name="T16" fmla="*/ 160 w 281"/>
                <a:gd name="T17" fmla="*/ 3 h 243"/>
                <a:gd name="T18" fmla="*/ 237 w 281"/>
                <a:gd name="T19" fmla="*/ 51 h 243"/>
                <a:gd name="T20" fmla="*/ 281 w 281"/>
                <a:gd name="T21" fmla="*/ 118 h 243"/>
                <a:gd name="T22" fmla="*/ 229 w 281"/>
                <a:gd name="T23" fmla="*/ 10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1" h="243">
                  <a:moveTo>
                    <a:pt x="229" y="105"/>
                  </a:moveTo>
                  <a:cubicBezTo>
                    <a:pt x="210" y="109"/>
                    <a:pt x="196" y="125"/>
                    <a:pt x="186" y="141"/>
                  </a:cubicBezTo>
                  <a:cubicBezTo>
                    <a:pt x="175" y="159"/>
                    <a:pt x="166" y="177"/>
                    <a:pt x="154" y="194"/>
                  </a:cubicBezTo>
                  <a:cubicBezTo>
                    <a:pt x="143" y="211"/>
                    <a:pt x="130" y="225"/>
                    <a:pt x="112" y="233"/>
                  </a:cubicBezTo>
                  <a:cubicBezTo>
                    <a:pt x="93" y="242"/>
                    <a:pt x="72" y="243"/>
                    <a:pt x="53" y="236"/>
                  </a:cubicBezTo>
                  <a:cubicBezTo>
                    <a:pt x="21" y="224"/>
                    <a:pt x="0" y="192"/>
                    <a:pt x="0" y="159"/>
                  </a:cubicBezTo>
                  <a:cubicBezTo>
                    <a:pt x="0" y="72"/>
                    <a:pt x="119" y="42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55" y="1"/>
                    <a:pt x="158" y="2"/>
                    <a:pt x="160" y="3"/>
                  </a:cubicBezTo>
                  <a:cubicBezTo>
                    <a:pt x="188" y="15"/>
                    <a:pt x="214" y="30"/>
                    <a:pt x="237" y="51"/>
                  </a:cubicBezTo>
                  <a:cubicBezTo>
                    <a:pt x="258" y="70"/>
                    <a:pt x="273" y="92"/>
                    <a:pt x="281" y="118"/>
                  </a:cubicBezTo>
                  <a:cubicBezTo>
                    <a:pt x="268" y="105"/>
                    <a:pt x="247" y="100"/>
                    <a:pt x="229" y="10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" name="Freeform 321">
              <a:extLst>
                <a:ext uri="{FF2B5EF4-FFF2-40B4-BE49-F238E27FC236}">
                  <a16:creationId xmlns:a16="http://schemas.microsoft.com/office/drawing/2014/main" id="{6CA36F11-D251-B9D9-4C20-84C34AAE71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0263" y="3343275"/>
              <a:ext cx="803275" cy="655638"/>
            </a:xfrm>
            <a:custGeom>
              <a:avLst/>
              <a:gdLst>
                <a:gd name="T0" fmla="*/ 183 w 188"/>
                <a:gd name="T1" fmla="*/ 61 h 153"/>
                <a:gd name="T2" fmla="*/ 140 w 188"/>
                <a:gd name="T3" fmla="*/ 103 h 153"/>
                <a:gd name="T4" fmla="*/ 79 w 188"/>
                <a:gd name="T5" fmla="*/ 84 h 153"/>
                <a:gd name="T6" fmla="*/ 123 w 188"/>
                <a:gd name="T7" fmla="*/ 124 h 153"/>
                <a:gd name="T8" fmla="*/ 65 w 188"/>
                <a:gd name="T9" fmla="*/ 149 h 153"/>
                <a:gd name="T10" fmla="*/ 31 w 188"/>
                <a:gd name="T11" fmla="*/ 152 h 153"/>
                <a:gd name="T12" fmla="*/ 0 w 188"/>
                <a:gd name="T13" fmla="*/ 144 h 153"/>
                <a:gd name="T14" fmla="*/ 48 w 188"/>
                <a:gd name="T15" fmla="*/ 114 h 153"/>
                <a:gd name="T16" fmla="*/ 77 w 188"/>
                <a:gd name="T17" fmla="*/ 72 h 153"/>
                <a:gd name="T18" fmla="*/ 103 w 188"/>
                <a:gd name="T19" fmla="*/ 25 h 153"/>
                <a:gd name="T20" fmla="*/ 140 w 188"/>
                <a:gd name="T21" fmla="*/ 1 h 153"/>
                <a:gd name="T22" fmla="*/ 182 w 188"/>
                <a:gd name="T23" fmla="*/ 22 h 153"/>
                <a:gd name="T24" fmla="*/ 183 w 188"/>
                <a:gd name="T25" fmla="*/ 6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8" h="153">
                  <a:moveTo>
                    <a:pt x="183" y="61"/>
                  </a:moveTo>
                  <a:cubicBezTo>
                    <a:pt x="177" y="81"/>
                    <a:pt x="160" y="97"/>
                    <a:pt x="140" y="103"/>
                  </a:cubicBezTo>
                  <a:cubicBezTo>
                    <a:pt x="117" y="109"/>
                    <a:pt x="94" y="102"/>
                    <a:pt x="79" y="84"/>
                  </a:cubicBezTo>
                  <a:cubicBezTo>
                    <a:pt x="80" y="108"/>
                    <a:pt x="99" y="124"/>
                    <a:pt x="123" y="124"/>
                  </a:cubicBezTo>
                  <a:cubicBezTo>
                    <a:pt x="108" y="139"/>
                    <a:pt x="86" y="146"/>
                    <a:pt x="65" y="149"/>
                  </a:cubicBezTo>
                  <a:cubicBezTo>
                    <a:pt x="54" y="151"/>
                    <a:pt x="42" y="153"/>
                    <a:pt x="31" y="152"/>
                  </a:cubicBezTo>
                  <a:cubicBezTo>
                    <a:pt x="21" y="152"/>
                    <a:pt x="9" y="150"/>
                    <a:pt x="0" y="144"/>
                  </a:cubicBezTo>
                  <a:cubicBezTo>
                    <a:pt x="19" y="139"/>
                    <a:pt x="35" y="128"/>
                    <a:pt x="48" y="114"/>
                  </a:cubicBezTo>
                  <a:cubicBezTo>
                    <a:pt x="60" y="101"/>
                    <a:pt x="69" y="87"/>
                    <a:pt x="77" y="72"/>
                  </a:cubicBezTo>
                  <a:cubicBezTo>
                    <a:pt x="85" y="56"/>
                    <a:pt x="92" y="39"/>
                    <a:pt x="103" y="25"/>
                  </a:cubicBezTo>
                  <a:cubicBezTo>
                    <a:pt x="112" y="12"/>
                    <a:pt x="124" y="2"/>
                    <a:pt x="140" y="1"/>
                  </a:cubicBezTo>
                  <a:cubicBezTo>
                    <a:pt x="157" y="0"/>
                    <a:pt x="174" y="7"/>
                    <a:pt x="182" y="22"/>
                  </a:cubicBezTo>
                  <a:cubicBezTo>
                    <a:pt x="188" y="35"/>
                    <a:pt x="187" y="48"/>
                    <a:pt x="183" y="6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2785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199456" y="2072590"/>
            <a:ext cx="9865096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 sz="8000" b="1" i="0">
                <a:solidFill>
                  <a:schemeClr val="bg1"/>
                </a:solidFill>
                <a:latin typeface="+mn-lt"/>
                <a:cs typeface="Ubuntu Light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199456" y="3840480"/>
            <a:ext cx="9865096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5" name="object 3">
            <a:extLst>
              <a:ext uri="{FF2B5EF4-FFF2-40B4-BE49-F238E27FC236}">
                <a16:creationId xmlns:a16="http://schemas.microsoft.com/office/drawing/2014/main" id="{4CA8D049-F201-572F-B01A-3FF9607451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1549154" y="211688"/>
            <a:ext cx="418180" cy="386605"/>
          </a:xfrm>
          <a:custGeom>
            <a:avLst/>
            <a:gdLst/>
            <a:ahLst/>
            <a:cxnLst/>
            <a:rect l="l" t="t" r="r" b="b"/>
            <a:pathLst>
              <a:path w="689609" h="637540">
                <a:moveTo>
                  <a:pt x="676808" y="283171"/>
                </a:moveTo>
                <a:lnTo>
                  <a:pt x="659422" y="238315"/>
                </a:lnTo>
                <a:lnTo>
                  <a:pt x="635520" y="196367"/>
                </a:lnTo>
                <a:lnTo>
                  <a:pt x="605726" y="157403"/>
                </a:lnTo>
                <a:lnTo>
                  <a:pt x="570687" y="121462"/>
                </a:lnTo>
                <a:lnTo>
                  <a:pt x="528434" y="86690"/>
                </a:lnTo>
                <a:lnTo>
                  <a:pt x="483044" y="56134"/>
                </a:lnTo>
                <a:lnTo>
                  <a:pt x="435178" y="29527"/>
                </a:lnTo>
                <a:lnTo>
                  <a:pt x="385483" y="6642"/>
                </a:lnTo>
                <a:lnTo>
                  <a:pt x="369176" y="0"/>
                </a:lnTo>
                <a:lnTo>
                  <a:pt x="344512" y="24333"/>
                </a:lnTo>
                <a:lnTo>
                  <a:pt x="313093" y="48183"/>
                </a:lnTo>
                <a:lnTo>
                  <a:pt x="276580" y="72085"/>
                </a:lnTo>
                <a:lnTo>
                  <a:pt x="195122" y="122275"/>
                </a:lnTo>
                <a:lnTo>
                  <a:pt x="153568" y="149656"/>
                </a:lnTo>
                <a:lnTo>
                  <a:pt x="113741" y="179298"/>
                </a:lnTo>
                <a:lnTo>
                  <a:pt x="77330" y="211759"/>
                </a:lnTo>
                <a:lnTo>
                  <a:pt x="46050" y="247586"/>
                </a:lnTo>
                <a:lnTo>
                  <a:pt x="21602" y="287337"/>
                </a:lnTo>
                <a:lnTo>
                  <a:pt x="5689" y="331546"/>
                </a:lnTo>
                <a:lnTo>
                  <a:pt x="0" y="380784"/>
                </a:lnTo>
                <a:lnTo>
                  <a:pt x="5943" y="428574"/>
                </a:lnTo>
                <a:lnTo>
                  <a:pt x="22898" y="473151"/>
                </a:lnTo>
                <a:lnTo>
                  <a:pt x="49555" y="512610"/>
                </a:lnTo>
                <a:lnTo>
                  <a:pt x="84582" y="545007"/>
                </a:lnTo>
                <a:lnTo>
                  <a:pt x="126695" y="568426"/>
                </a:lnTo>
                <a:lnTo>
                  <a:pt x="198526" y="578281"/>
                </a:lnTo>
                <a:lnTo>
                  <a:pt x="234340" y="572922"/>
                </a:lnTo>
                <a:lnTo>
                  <a:pt x="299681" y="543369"/>
                </a:lnTo>
                <a:lnTo>
                  <a:pt x="350913" y="495579"/>
                </a:lnTo>
                <a:lnTo>
                  <a:pt x="392214" y="435952"/>
                </a:lnTo>
                <a:lnTo>
                  <a:pt x="429247" y="371309"/>
                </a:lnTo>
                <a:lnTo>
                  <a:pt x="448487" y="339432"/>
                </a:lnTo>
                <a:lnTo>
                  <a:pt x="491998" y="284594"/>
                </a:lnTo>
                <a:lnTo>
                  <a:pt x="552208" y="250723"/>
                </a:lnTo>
                <a:lnTo>
                  <a:pt x="585292" y="247205"/>
                </a:lnTo>
                <a:lnTo>
                  <a:pt x="618794" y="251485"/>
                </a:lnTo>
                <a:lnTo>
                  <a:pt x="650151" y="263499"/>
                </a:lnTo>
                <a:lnTo>
                  <a:pt x="676808" y="283171"/>
                </a:lnTo>
                <a:close/>
              </a:path>
              <a:path w="689609" h="637540">
                <a:moveTo>
                  <a:pt x="689470" y="371373"/>
                </a:moveTo>
                <a:lnTo>
                  <a:pt x="678637" y="325310"/>
                </a:lnTo>
                <a:lnTo>
                  <a:pt x="636955" y="284200"/>
                </a:lnTo>
                <a:lnTo>
                  <a:pt x="578815" y="272999"/>
                </a:lnTo>
                <a:lnTo>
                  <a:pt x="551103" y="278485"/>
                </a:lnTo>
                <a:lnTo>
                  <a:pt x="506285" y="309105"/>
                </a:lnTo>
                <a:lnTo>
                  <a:pt x="471004" y="358025"/>
                </a:lnTo>
                <a:lnTo>
                  <a:pt x="425742" y="443611"/>
                </a:lnTo>
                <a:lnTo>
                  <a:pt x="410692" y="470649"/>
                </a:lnTo>
                <a:lnTo>
                  <a:pt x="376783" y="522224"/>
                </a:lnTo>
                <a:lnTo>
                  <a:pt x="331978" y="569607"/>
                </a:lnTo>
                <a:lnTo>
                  <a:pt x="274320" y="606196"/>
                </a:lnTo>
                <a:lnTo>
                  <a:pt x="242189" y="618413"/>
                </a:lnTo>
                <a:lnTo>
                  <a:pt x="258787" y="627443"/>
                </a:lnTo>
                <a:lnTo>
                  <a:pt x="277241" y="633044"/>
                </a:lnTo>
                <a:lnTo>
                  <a:pt x="296430" y="636066"/>
                </a:lnTo>
                <a:lnTo>
                  <a:pt x="315277" y="637349"/>
                </a:lnTo>
                <a:lnTo>
                  <a:pt x="335991" y="637501"/>
                </a:lnTo>
                <a:lnTo>
                  <a:pt x="356730" y="636422"/>
                </a:lnTo>
                <a:lnTo>
                  <a:pt x="397852" y="631037"/>
                </a:lnTo>
                <a:lnTo>
                  <a:pt x="435419" y="622630"/>
                </a:lnTo>
                <a:lnTo>
                  <a:pt x="472528" y="610057"/>
                </a:lnTo>
                <a:lnTo>
                  <a:pt x="507212" y="592378"/>
                </a:lnTo>
                <a:lnTo>
                  <a:pt x="537527" y="568617"/>
                </a:lnTo>
                <a:lnTo>
                  <a:pt x="497217" y="562127"/>
                </a:lnTo>
                <a:lnTo>
                  <a:pt x="463956" y="542798"/>
                </a:lnTo>
                <a:lnTo>
                  <a:pt x="440639" y="512457"/>
                </a:lnTo>
                <a:lnTo>
                  <a:pt x="430174" y="472960"/>
                </a:lnTo>
                <a:lnTo>
                  <a:pt x="460997" y="501142"/>
                </a:lnTo>
                <a:lnTo>
                  <a:pt x="497116" y="518515"/>
                </a:lnTo>
                <a:lnTo>
                  <a:pt x="536790" y="524586"/>
                </a:lnTo>
                <a:lnTo>
                  <a:pt x="578243" y="518795"/>
                </a:lnTo>
                <a:lnTo>
                  <a:pt x="612813" y="503986"/>
                </a:lnTo>
                <a:lnTo>
                  <a:pt x="642493" y="481355"/>
                </a:lnTo>
                <a:lnTo>
                  <a:pt x="665975" y="452323"/>
                </a:lnTo>
                <a:lnTo>
                  <a:pt x="682002" y="418299"/>
                </a:lnTo>
                <a:lnTo>
                  <a:pt x="687730" y="395033"/>
                </a:lnTo>
                <a:lnTo>
                  <a:pt x="689470" y="37137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2794147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D8E58F-8094-1E41-530A-1113B38797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16910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a">
    <p:bg>
      <p:bgPr>
        <a:gradFill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3A966515-C64B-E7BB-1198-D99D16DE65B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59896" y="1916832"/>
            <a:ext cx="7032104" cy="3528392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Insert Picture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C410B-B58E-46DB-B5F0-7F515E223D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368" y="3341212"/>
            <a:ext cx="4609034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Optional: Click to insert name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A6C182ED-7FBB-D436-05D8-96E184F17B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68" y="2924944"/>
            <a:ext cx="4609034" cy="246221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6ABBE1C-3373-50D9-4152-CA1AC4A5E7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368" y="1285134"/>
            <a:ext cx="4609034" cy="1495794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9" name="Graphique 8">
            <a:extLst>
              <a:ext uri="{FF2B5EF4-FFF2-40B4-BE49-F238E27FC236}">
                <a16:creationId xmlns:a16="http://schemas.microsoft.com/office/drawing/2014/main" id="{AA840DDF-5BC5-48B9-ABBE-65FE00C2FFC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2694" y="5975962"/>
            <a:ext cx="2988000" cy="453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780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Dark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C1949725-ACD2-44C4-85AF-10B39EC614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71" y="1125538"/>
            <a:ext cx="11369042" cy="246221"/>
          </a:xfrm>
          <a:prstGeom prst="rect">
            <a:avLst/>
          </a:prstGeom>
        </p:spPr>
        <p:txBody>
          <a:bodyPr lIns="0"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771E05-0646-A062-8DD0-B00651AE6E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98789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ubtitle Content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67AB06E-CA55-4893-BAFA-61FF4CCDFB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4971" y="1125538"/>
            <a:ext cx="11369042" cy="24622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D4D202-FD32-49BA-88CC-B39D2339504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1624108"/>
            <a:ext cx="11369042" cy="4829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2564CED-1C28-DF10-1067-5941504A95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79100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 Short Dark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8">
            <a:extLst>
              <a:ext uri="{FF2B5EF4-FFF2-40B4-BE49-F238E27FC236}">
                <a16:creationId xmlns:a16="http://schemas.microsoft.com/office/drawing/2014/main" id="{7D3C6BC6-663C-C133-76CE-9BAB02DAEDB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967663" y="1122907"/>
            <a:ext cx="4224338" cy="5735093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Insert Picture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98C3DB19-4889-48D4-AFFB-A1B288723D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71" y="1125538"/>
            <a:ext cx="7337213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13880FA-A20C-4104-8D48-DC99C13D0B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1628800"/>
            <a:ext cx="7337213" cy="4824388"/>
          </a:xfrm>
          <a:prstGeom prst="rect">
            <a:avLst/>
          </a:prstGeom>
        </p:spPr>
        <p:txBody>
          <a:bodyPr rIns="216000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buClrTx/>
              <a:defRPr sz="1400">
                <a:solidFill>
                  <a:schemeClr val="bg1"/>
                </a:solidFill>
              </a:defRPr>
            </a:lvl2pPr>
            <a:lvl3pPr>
              <a:buClrTx/>
              <a:defRPr sz="1400">
                <a:solidFill>
                  <a:schemeClr val="bg1"/>
                </a:solidFill>
              </a:defRPr>
            </a:lvl3pPr>
            <a:lvl4pPr>
              <a:buClrTx/>
              <a:defRPr sz="1200">
                <a:solidFill>
                  <a:schemeClr val="bg1"/>
                </a:solidFill>
              </a:defRPr>
            </a:lvl4pPr>
            <a:lvl5pPr>
              <a:buClrTx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C5D9B30-9A2C-505E-36D0-05AF0DBAAC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35627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>
        <p15:guide id="1" pos="5019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 Short Dark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8">
            <a:extLst>
              <a:ext uri="{FF2B5EF4-FFF2-40B4-BE49-F238E27FC236}">
                <a16:creationId xmlns:a16="http://schemas.microsoft.com/office/drawing/2014/main" id="{D947A8D9-3FE6-9441-652F-400363E7066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96001" y="1122907"/>
            <a:ext cx="6096000" cy="5735093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Insert Picture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859F9A52-5C59-4371-8261-06DAE7261A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71" y="1125538"/>
            <a:ext cx="5545800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33B64D18-C45E-440C-9C66-6F1DDAC017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1627200"/>
            <a:ext cx="5545137" cy="4825988"/>
          </a:xfrm>
          <a:prstGeom prst="rect">
            <a:avLst/>
          </a:prstGeom>
        </p:spPr>
        <p:txBody>
          <a:bodyPr vert="horz" lIns="0" tIns="0" rIns="216000" bIns="0" rtlCol="0">
            <a:noAutofit/>
          </a:bodyPr>
          <a:lstStyle>
            <a:lvl1pPr>
              <a:defRPr lang="en-US" sz="1400" smtClean="0">
                <a:solidFill>
                  <a:schemeClr val="bg1"/>
                </a:solidFill>
              </a:defRPr>
            </a:lvl1pPr>
            <a:lvl2pPr marL="180975" indent="-180975">
              <a:buClrTx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0000" indent="-180000">
              <a:buClrTx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80000">
              <a:buClrTx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9138" indent="-180975">
              <a:buClrTx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325044F-30C6-C6D9-84C0-2B925714F5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33639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 Short Dark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40C8F40-0AE5-4281-9868-B3C794BF6FD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-1" y="0"/>
            <a:ext cx="4208053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add picture and send picture to back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DE5BD221-7593-42BD-A842-EFACB10DAB7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44744" y="1126800"/>
            <a:ext cx="6962544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A6C5C35D-CE7D-48CD-A1B2-353FFA53AEE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5407" y="1627200"/>
            <a:ext cx="6962544" cy="48259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400" smtClean="0">
                <a:solidFill>
                  <a:schemeClr val="bg1"/>
                </a:solidFill>
              </a:defRPr>
            </a:lvl1pPr>
            <a:lvl2pPr marL="180975" indent="-180975">
              <a:buClrTx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0000" indent="-180000">
              <a:buClrTx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80000">
              <a:buClrTx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9138" indent="-180975">
              <a:buClrTx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4" name="Groupe 1">
            <a:extLst>
              <a:ext uri="{FF2B5EF4-FFF2-40B4-BE49-F238E27FC236}">
                <a16:creationId xmlns:a16="http://schemas.microsoft.com/office/drawing/2014/main" id="{DFFA4EA6-56A9-4F86-ABC0-8D91183AD408}"/>
              </a:ext>
            </a:extLst>
          </p:cNvPr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22" name="Freeform 13">
              <a:extLst>
                <a:ext uri="{FF2B5EF4-FFF2-40B4-BE49-F238E27FC236}">
                  <a16:creationId xmlns:a16="http://schemas.microsoft.com/office/drawing/2014/main" id="{C156B522-A0C0-42B8-BB11-65082FE767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4">
              <a:extLst>
                <a:ext uri="{FF2B5EF4-FFF2-40B4-BE49-F238E27FC236}">
                  <a16:creationId xmlns:a16="http://schemas.microsoft.com/office/drawing/2014/main" id="{43AD94EE-7857-4B4F-8194-A523D32A35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3D8BFFB-83BD-8B73-4F5E-285DBB5281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4744" y="260350"/>
            <a:ext cx="6978640" cy="7921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17045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>
        <p15:guide id="1" pos="511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le Only Short Dark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8A4E47E-A55F-4490-AD19-D9A415AA57C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add picture and send picture to back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B7C70459-DE10-4F5D-80E6-BAD5BA66267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4032" y="1125538"/>
            <a:ext cx="5047879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4">
            <a:extLst>
              <a:ext uri="{FF2B5EF4-FFF2-40B4-BE49-F238E27FC236}">
                <a16:creationId xmlns:a16="http://schemas.microsoft.com/office/drawing/2014/main" id="{CC59ACB0-A839-47A7-AC17-01C5AED889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4032" y="6907"/>
            <a:ext cx="5047879" cy="11273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A8B886D2-95CB-49D8-B7AE-68DA209E76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4032" y="1627200"/>
            <a:ext cx="5047879" cy="48259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400" smtClean="0">
                <a:solidFill>
                  <a:schemeClr val="bg1"/>
                </a:solidFill>
              </a:defRPr>
            </a:lvl1pPr>
            <a:lvl2pPr marL="180975" indent="-180975">
              <a:buClrTx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0000" indent="-180000">
              <a:buClrTx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80000">
              <a:buClrTx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9138" indent="-180975">
              <a:buClrTx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6" name="Groupe 1">
            <a:extLst>
              <a:ext uri="{FF2B5EF4-FFF2-40B4-BE49-F238E27FC236}">
                <a16:creationId xmlns:a16="http://schemas.microsoft.com/office/drawing/2014/main" id="{E0AE299F-7351-4397-AACC-823584420C74}"/>
              </a:ext>
            </a:extLst>
          </p:cNvPr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22" name="Freeform 13">
              <a:extLst>
                <a:ext uri="{FF2B5EF4-FFF2-40B4-BE49-F238E27FC236}">
                  <a16:creationId xmlns:a16="http://schemas.microsoft.com/office/drawing/2014/main" id="{2EAF937C-9725-44A1-BB6F-11B4974BAD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4">
              <a:extLst>
                <a:ext uri="{FF2B5EF4-FFF2-40B4-BE49-F238E27FC236}">
                  <a16:creationId xmlns:a16="http://schemas.microsoft.com/office/drawing/2014/main" id="{0B23023F-6948-45C1-A879-0B093E949B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643078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5121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bg>
      <p:bgPr>
        <a:gradFill flip="none" rotWithShape="1"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hlinkClick r:id="rId2"/>
            <a:extLst>
              <a:ext uri="{FF2B5EF4-FFF2-40B4-BE49-F238E27FC236}">
                <a16:creationId xmlns:a16="http://schemas.microsoft.com/office/drawing/2014/main" id="{941A3941-C755-6656-4029-D0028A53BB3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14289" y="5571089"/>
            <a:ext cx="333195" cy="333195"/>
          </a:xfrm>
          <a:prstGeom prst="rect">
            <a:avLst/>
          </a:prstGeom>
          <a:noFill/>
        </p:spPr>
      </p:pic>
      <p:pic>
        <p:nvPicPr>
          <p:cNvPr id="5" name="Picture 2">
            <a:hlinkClick r:id="rId4"/>
            <a:extLst>
              <a:ext uri="{FF2B5EF4-FFF2-40B4-BE49-F238E27FC236}">
                <a16:creationId xmlns:a16="http://schemas.microsoft.com/office/drawing/2014/main" id="{3591224F-8FEC-9B5A-1F57-B601D9EC4C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97666" y="5571089"/>
            <a:ext cx="333195" cy="333195"/>
          </a:xfrm>
          <a:prstGeom prst="rect">
            <a:avLst/>
          </a:prstGeom>
          <a:noFill/>
        </p:spPr>
      </p:pic>
      <p:pic>
        <p:nvPicPr>
          <p:cNvPr id="6" name="Picture 4">
            <a:hlinkClick r:id="rId6"/>
            <a:extLst>
              <a:ext uri="{FF2B5EF4-FFF2-40B4-BE49-F238E27FC236}">
                <a16:creationId xmlns:a16="http://schemas.microsoft.com/office/drawing/2014/main" id="{C96036E5-31FB-13BE-950F-9869979802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81043" y="5571089"/>
            <a:ext cx="333195" cy="333195"/>
          </a:xfrm>
          <a:prstGeom prst="rect">
            <a:avLst/>
          </a:prstGeom>
          <a:noFill/>
        </p:spPr>
      </p:pic>
      <p:pic>
        <p:nvPicPr>
          <p:cNvPr id="7" name="Picture 6">
            <a:hlinkClick r:id="rId8"/>
            <a:extLst>
              <a:ext uri="{FF2B5EF4-FFF2-40B4-BE49-F238E27FC236}">
                <a16:creationId xmlns:a16="http://schemas.microsoft.com/office/drawing/2014/main" id="{C895DE98-7E11-9ACD-964C-CB06CEB7580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64420" y="5571089"/>
            <a:ext cx="333195" cy="333195"/>
          </a:xfrm>
          <a:prstGeom prst="rect">
            <a:avLst/>
          </a:prstGeom>
          <a:noFill/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CBBF08B-D059-4998-4ED3-95035CA33654}"/>
              </a:ext>
            </a:extLst>
          </p:cNvPr>
          <p:cNvSpPr/>
          <p:nvPr userDrawn="1"/>
        </p:nvSpPr>
        <p:spPr>
          <a:xfrm>
            <a:off x="8514289" y="6053226"/>
            <a:ext cx="3234143" cy="40011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700" noProof="0">
                <a:solidFill>
                  <a:schemeClr val="bg1"/>
                </a:solidFill>
                <a:latin typeface="+mn-lt"/>
                <a:cs typeface="Arial"/>
              </a:rPr>
              <a:t>This presentation contains information that may be privileged or confidential and is the property of the Capgemini Group.</a:t>
            </a:r>
          </a:p>
          <a:p>
            <a:pPr>
              <a:spcAft>
                <a:spcPts val="600"/>
              </a:spcAft>
            </a:pPr>
            <a:r>
              <a:rPr lang="en-US" sz="700" noProof="0">
                <a:solidFill>
                  <a:schemeClr val="bg1"/>
                </a:solidFill>
                <a:latin typeface="+mn-lt"/>
                <a:cs typeface="Arial"/>
              </a:rPr>
              <a:t>Copyright © 2025 Capgemini. All rights reserved.</a:t>
            </a:r>
          </a:p>
        </p:txBody>
      </p:sp>
      <p:pic>
        <p:nvPicPr>
          <p:cNvPr id="10" name="Image 9" descr="Une image contenant noir, Graphique, art&#10;&#10;Description générée automatiquement">
            <a:extLst>
              <a:ext uri="{FF2B5EF4-FFF2-40B4-BE49-F238E27FC236}">
                <a16:creationId xmlns:a16="http://schemas.microsoft.com/office/drawing/2014/main" id="{DE62D67C-765C-84EB-F850-6A1F3B6BE8F7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47928" y="836712"/>
            <a:ext cx="7729744" cy="6403861"/>
          </a:xfrm>
          <a:prstGeom prst="rect">
            <a:avLst/>
          </a:prstGeom>
        </p:spPr>
      </p:pic>
      <p:pic>
        <p:nvPicPr>
          <p:cNvPr id="3" name="Graphique 2">
            <a:extLst>
              <a:ext uri="{FF2B5EF4-FFF2-40B4-BE49-F238E27FC236}">
                <a16:creationId xmlns:a16="http://schemas.microsoft.com/office/drawing/2014/main" id="{9B3FDAE9-396F-612D-C7F6-AB1CF8FEF8BA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02694" y="5975962"/>
            <a:ext cx="2988000" cy="453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9959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>
        <p15:guide id="2" pos="7423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Slide dark">
    <p:bg>
      <p:bgPr>
        <a:solidFill>
          <a:srgbClr val="2729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7">
            <a:hlinkClick r:id="rId2"/>
            <a:extLst>
              <a:ext uri="{FF2B5EF4-FFF2-40B4-BE49-F238E27FC236}">
                <a16:creationId xmlns:a16="http://schemas.microsoft.com/office/drawing/2014/main" id="{CC55E37E-23F7-AE09-687B-FF0A64465B2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14289" y="5571089"/>
            <a:ext cx="333195" cy="333195"/>
          </a:xfrm>
          <a:prstGeom prst="rect">
            <a:avLst/>
          </a:prstGeom>
          <a:noFill/>
        </p:spPr>
      </p:pic>
      <p:pic>
        <p:nvPicPr>
          <p:cNvPr id="11" name="Picture 2">
            <a:hlinkClick r:id="rId4"/>
            <a:extLst>
              <a:ext uri="{FF2B5EF4-FFF2-40B4-BE49-F238E27FC236}">
                <a16:creationId xmlns:a16="http://schemas.microsoft.com/office/drawing/2014/main" id="{A9A234E1-21A9-0562-AA45-77469E965E9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97666" y="5571089"/>
            <a:ext cx="333195" cy="333195"/>
          </a:xfrm>
          <a:prstGeom prst="rect">
            <a:avLst/>
          </a:prstGeom>
          <a:noFill/>
        </p:spPr>
      </p:pic>
      <p:pic>
        <p:nvPicPr>
          <p:cNvPr id="12" name="Picture 4">
            <a:hlinkClick r:id="rId6"/>
            <a:extLst>
              <a:ext uri="{FF2B5EF4-FFF2-40B4-BE49-F238E27FC236}">
                <a16:creationId xmlns:a16="http://schemas.microsoft.com/office/drawing/2014/main" id="{D3F9462A-9181-7B6F-0C53-88633CD0910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81043" y="5571089"/>
            <a:ext cx="333195" cy="333195"/>
          </a:xfrm>
          <a:prstGeom prst="rect">
            <a:avLst/>
          </a:prstGeom>
          <a:noFill/>
        </p:spPr>
      </p:pic>
      <p:pic>
        <p:nvPicPr>
          <p:cNvPr id="17" name="Picture 6">
            <a:hlinkClick r:id="rId8"/>
            <a:extLst>
              <a:ext uri="{FF2B5EF4-FFF2-40B4-BE49-F238E27FC236}">
                <a16:creationId xmlns:a16="http://schemas.microsoft.com/office/drawing/2014/main" id="{0057A36D-710A-32C2-2461-BFFF579A099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64420" y="5571089"/>
            <a:ext cx="333195" cy="333195"/>
          </a:xfrm>
          <a:prstGeom prst="rect">
            <a:avLst/>
          </a:prstGeom>
          <a:noFill/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5ACF1211-C28D-FCA4-B36E-E08F106C8C67}"/>
              </a:ext>
            </a:extLst>
          </p:cNvPr>
          <p:cNvSpPr/>
          <p:nvPr userDrawn="1"/>
        </p:nvSpPr>
        <p:spPr>
          <a:xfrm>
            <a:off x="8514289" y="6053226"/>
            <a:ext cx="3234143" cy="40011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700" noProof="0">
                <a:solidFill>
                  <a:schemeClr val="bg1"/>
                </a:solidFill>
                <a:latin typeface="+mn-lt"/>
                <a:cs typeface="Arial"/>
              </a:rPr>
              <a:t>This presentation contains information that may be privileged or confidential and is the property of the Capgemini Group.</a:t>
            </a:r>
          </a:p>
          <a:p>
            <a:pPr>
              <a:spcAft>
                <a:spcPts val="600"/>
              </a:spcAft>
            </a:pPr>
            <a:r>
              <a:rPr lang="en-US" sz="700" noProof="0">
                <a:solidFill>
                  <a:schemeClr val="bg1"/>
                </a:solidFill>
                <a:latin typeface="+mn-lt"/>
                <a:cs typeface="Arial"/>
              </a:rPr>
              <a:t>Copyright © 2025 Capgemini. All rights reserved.</a:t>
            </a:r>
          </a:p>
        </p:txBody>
      </p:sp>
      <p:pic>
        <p:nvPicPr>
          <p:cNvPr id="4" name="Picture 14">
            <a:extLst>
              <a:ext uri="{FF2B5EF4-FFF2-40B4-BE49-F238E27FC236}">
                <a16:creationId xmlns:a16="http://schemas.microsoft.com/office/drawing/2014/main" id="{72F6479D-6EC4-876D-159E-45E9EFA775CF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9381" y="3837746"/>
            <a:ext cx="8938728" cy="3477505"/>
          </a:xfrm>
          <a:prstGeom prst="rect">
            <a:avLst/>
          </a:prstGeom>
        </p:spPr>
      </p:pic>
      <p:pic>
        <p:nvPicPr>
          <p:cNvPr id="7" name="Graphique 6">
            <a:extLst>
              <a:ext uri="{FF2B5EF4-FFF2-40B4-BE49-F238E27FC236}">
                <a16:creationId xmlns:a16="http://schemas.microsoft.com/office/drawing/2014/main" id="{D7AE1E3B-E7E8-FD4E-EE81-2AEC19A21510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02694" y="5975962"/>
            <a:ext cx="2988000" cy="453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7847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dark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1460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b">
    <p:bg>
      <p:bgPr>
        <a:gradFill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3A966515-C64B-E7BB-1198-D99D16DE65B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1916832"/>
            <a:ext cx="3816424" cy="4941168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Insert Picture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C410B-B58E-46DB-B5F0-7F515E223D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368" y="3341212"/>
            <a:ext cx="4597606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Optional: Click to insert name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A6C182ED-7FBB-D436-05D8-96E184F17B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68" y="2924944"/>
            <a:ext cx="4597606" cy="246221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6ABBE1C-3373-50D9-4152-CA1AC4A5E7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368" y="537237"/>
            <a:ext cx="4597606" cy="2243691"/>
          </a:xfrm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9" name="Graphique 8">
            <a:extLst>
              <a:ext uri="{FF2B5EF4-FFF2-40B4-BE49-F238E27FC236}">
                <a16:creationId xmlns:a16="http://schemas.microsoft.com/office/drawing/2014/main" id="{D7EB50A5-41A5-4BAC-53D7-978E67178E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2694" y="5975962"/>
            <a:ext cx="2988000" cy="453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032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99B4C00-70D4-820E-4FA3-DFB1A5FB04B2}"/>
              </a:ext>
            </a:extLst>
          </p:cNvPr>
          <p:cNvSpPr/>
          <p:nvPr userDrawn="1"/>
        </p:nvSpPr>
        <p:spPr>
          <a:xfrm>
            <a:off x="-1" y="0"/>
            <a:ext cx="12186251" cy="6858000"/>
          </a:xfrm>
          <a:prstGeom prst="rect">
            <a:avLst/>
          </a:prstGeom>
          <a:solidFill>
            <a:srgbClr val="0005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err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6BB52B-0C5D-4023-89D5-282E9A5202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0850DA69-657E-41C3-B340-B16C354CA1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11406187" cy="4951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EBFA241-11DC-899C-F354-334FAD911F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321822" y="2235199"/>
            <a:ext cx="2941135" cy="281940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1196BD2-56EF-A6A6-52CD-5257C57FD1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321822" y="1"/>
            <a:ext cx="1922395" cy="2133600"/>
          </a:xfrm>
          <a:prstGeom prst="rect">
            <a:avLst/>
          </a:prstGeom>
        </p:spPr>
      </p:pic>
      <p:grpSp>
        <p:nvGrpSpPr>
          <p:cNvPr id="6" name="Groupe 1">
            <a:extLst>
              <a:ext uri="{FF2B5EF4-FFF2-40B4-BE49-F238E27FC236}">
                <a16:creationId xmlns:a16="http://schemas.microsoft.com/office/drawing/2014/main" id="{114EA72D-792B-9DD6-20DB-20661BC4221C}"/>
              </a:ext>
            </a:extLst>
          </p:cNvPr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5820746E-DE66-3F41-A330-6C9D376F8A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4E2A9AEF-48E1-81CA-D377-BFB97C609A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1" name="Retângulo 43">
            <a:extLst>
              <a:ext uri="{FF2B5EF4-FFF2-40B4-BE49-F238E27FC236}">
                <a16:creationId xmlns:a16="http://schemas.microsoft.com/office/drawing/2014/main" id="{5D24997F-28E6-4E42-D16C-5034855FB802}"/>
              </a:ext>
            </a:extLst>
          </p:cNvPr>
          <p:cNvSpPr/>
          <p:nvPr userDrawn="1"/>
        </p:nvSpPr>
        <p:spPr>
          <a:xfrm>
            <a:off x="11744128" y="6517658"/>
            <a:ext cx="229263" cy="21544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rgbClr val="A6A6A6"/>
              </a:solidFill>
              <a:latin typeface="Ubuntu" panose="020B050403060203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27">
            <a:extLst>
              <a:ext uri="{FF2B5EF4-FFF2-40B4-BE49-F238E27FC236}">
                <a16:creationId xmlns:a16="http://schemas.microsoft.com/office/drawing/2014/main" id="{9D44F652-2201-937E-19BA-3B8C944224CD}"/>
              </a:ext>
            </a:extLst>
          </p:cNvPr>
          <p:cNvSpPr/>
          <p:nvPr userDrawn="1"/>
        </p:nvSpPr>
        <p:spPr>
          <a:xfrm>
            <a:off x="7227070" y="6517871"/>
            <a:ext cx="4532162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70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Company Confidential © Capgemini 2025. All rights reserved  |</a:t>
            </a:r>
          </a:p>
        </p:txBody>
      </p:sp>
    </p:spTree>
    <p:extLst>
      <p:ext uri="{BB962C8B-B14F-4D97-AF65-F5344CB8AC3E}">
        <p14:creationId xmlns:p14="http://schemas.microsoft.com/office/powerpoint/2010/main" val="3946299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ubtitle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ue and gold light waves&#10;&#10;Description automatically generated with medium confidence">
            <a:extLst>
              <a:ext uri="{FF2B5EF4-FFF2-40B4-BE49-F238E27FC236}">
                <a16:creationId xmlns:a16="http://schemas.microsoft.com/office/drawing/2014/main" id="{B6FA2531-DAB2-A92A-3A27-4C37D7A10F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485000"/>
            <a:ext cx="12192000" cy="5360439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9A876AC-FDE9-C187-D9E6-27C489312527}"/>
              </a:ext>
            </a:extLst>
          </p:cNvPr>
          <p:cNvSpPr/>
          <p:nvPr userDrawn="1"/>
        </p:nvSpPr>
        <p:spPr>
          <a:xfrm>
            <a:off x="0" y="12560"/>
            <a:ext cx="12192000" cy="6566434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/>
              </a:gs>
            </a:gsLst>
            <a:lin ang="16200000" scaled="1"/>
            <a:tileRect/>
          </a:gra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5CFA82C-909C-6465-1EC6-5CA9660159E1}"/>
              </a:ext>
            </a:extLst>
          </p:cNvPr>
          <p:cNvSpPr/>
          <p:nvPr userDrawn="1"/>
        </p:nvSpPr>
        <p:spPr>
          <a:xfrm>
            <a:off x="8879" y="0"/>
            <a:ext cx="12192000" cy="6845439"/>
          </a:xfrm>
          <a:prstGeom prst="rect">
            <a:avLst/>
          </a:prstGeom>
          <a:gradFill flip="none" rotWithShape="1">
            <a:gsLst>
              <a:gs pos="24000">
                <a:schemeClr val="accent4"/>
              </a:gs>
              <a:gs pos="100000">
                <a:schemeClr val="accent4">
                  <a:alpha val="58000"/>
                </a:schemeClr>
              </a:gs>
            </a:gsLst>
            <a:lin ang="5400000" scaled="1"/>
            <a:tileRect/>
          </a:gra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5" name="Rectangle 27">
            <a:extLst>
              <a:ext uri="{FF2B5EF4-FFF2-40B4-BE49-F238E27FC236}">
                <a16:creationId xmlns:a16="http://schemas.microsoft.com/office/drawing/2014/main" id="{691D1F38-7486-516F-DD72-A810A4FFD752}"/>
              </a:ext>
            </a:extLst>
          </p:cNvPr>
          <p:cNvSpPr/>
          <p:nvPr userDrawn="1"/>
        </p:nvSpPr>
        <p:spPr>
          <a:xfrm>
            <a:off x="7131820" y="6517871"/>
            <a:ext cx="4532162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700">
                <a:solidFill>
                  <a:schemeClr val="bg1">
                    <a:lumMod val="65000"/>
                  </a:schemeClr>
                </a:solidFill>
                <a:latin typeface="+mn-lt"/>
                <a:cs typeface="Arial" panose="020B0604020202020204" pitchFamily="34" charset="0"/>
              </a:rPr>
              <a:t>Company Confidential © Capgemini 2025. All rights reserved  |</a:t>
            </a:r>
          </a:p>
        </p:txBody>
      </p:sp>
      <p:sp>
        <p:nvSpPr>
          <p:cNvPr id="16" name="Rectangle 43">
            <a:extLst>
              <a:ext uri="{FF2B5EF4-FFF2-40B4-BE49-F238E27FC236}">
                <a16:creationId xmlns:a16="http://schemas.microsoft.com/office/drawing/2014/main" id="{570F123E-916F-4FEF-B464-F1FD6B792D83}"/>
              </a:ext>
            </a:extLst>
          </p:cNvPr>
          <p:cNvSpPr/>
          <p:nvPr userDrawn="1"/>
        </p:nvSpPr>
        <p:spPr>
          <a:xfrm>
            <a:off x="11648878" y="6517658"/>
            <a:ext cx="229263" cy="21544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latin typeface="+mn-lt"/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chemeClr val="bg1">
                  <a:lumMod val="65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3D304D-DCB8-3E36-CE38-46DC1C9F0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971" y="260350"/>
            <a:ext cx="11008413" cy="7921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de-DE"/>
          </a:p>
        </p:txBody>
      </p:sp>
      <p:sp>
        <p:nvSpPr>
          <p:cNvPr id="9" name="Espace réservé du texte 9">
            <a:extLst>
              <a:ext uri="{FF2B5EF4-FFF2-40B4-BE49-F238E27FC236}">
                <a16:creationId xmlns:a16="http://schemas.microsoft.com/office/drawing/2014/main" id="{466C0C86-0EBE-2733-E36C-A2E956A94D3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857178"/>
            <a:ext cx="11406187" cy="454203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Ubuntu" panose="020B0504030602030204" pitchFamily="34" charset="0"/>
              </a:defRPr>
            </a:lvl1pPr>
            <a:lvl2pPr>
              <a:defRPr>
                <a:solidFill>
                  <a:schemeClr val="bg1"/>
                </a:solidFill>
                <a:latin typeface="Ubuntu" panose="020B0504030602030204" pitchFamily="34" charset="0"/>
              </a:defRPr>
            </a:lvl2pPr>
            <a:lvl3pPr>
              <a:defRPr>
                <a:solidFill>
                  <a:schemeClr val="bg1"/>
                </a:solidFill>
                <a:latin typeface="Ubuntu" panose="020B0504030602030204" pitchFamily="34" charset="0"/>
              </a:defRPr>
            </a:lvl3pPr>
            <a:lvl4pPr>
              <a:buClr>
                <a:schemeClr val="accent5"/>
              </a:buClr>
              <a:defRPr>
                <a:solidFill>
                  <a:schemeClr val="bg1"/>
                </a:solidFill>
                <a:latin typeface="Ubuntu" panose="020B0504030602030204" pitchFamily="34" charset="0"/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  <a:latin typeface="Ubuntu" panose="020B050403060203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Espace réservé du texte 4">
            <a:extLst>
              <a:ext uri="{FF2B5EF4-FFF2-40B4-BE49-F238E27FC236}">
                <a16:creationId xmlns:a16="http://schemas.microsoft.com/office/drawing/2014/main" id="{6FB75E98-9F06-F9E2-5385-031BB92AC1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4813" y="1327150"/>
            <a:ext cx="11379200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>
                <a:solidFill>
                  <a:srgbClr val="12ABDB"/>
                </a:solidFill>
                <a:latin typeface="Ubuntu" panose="020B0504030602030204" pitchFamily="34" charset="0"/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grpSp>
        <p:nvGrpSpPr>
          <p:cNvPr id="22" name="Groupe 1">
            <a:extLst>
              <a:ext uri="{FF2B5EF4-FFF2-40B4-BE49-F238E27FC236}">
                <a16:creationId xmlns:a16="http://schemas.microsoft.com/office/drawing/2014/main" id="{EEB2A6C6-2D7C-DB67-B804-5717848B1EF1}"/>
              </a:ext>
            </a:extLst>
          </p:cNvPr>
          <p:cNvGrpSpPr/>
          <p:nvPr userDrawn="1"/>
        </p:nvGrpSpPr>
        <p:grpSpPr>
          <a:xfrm>
            <a:off x="11711459" y="75777"/>
            <a:ext cx="315073" cy="237730"/>
            <a:chOff x="11501102" y="171573"/>
            <a:chExt cx="419436" cy="388988"/>
          </a:xfrm>
        </p:grpSpPr>
        <p:sp>
          <p:nvSpPr>
            <p:cNvPr id="28" name="Freeform 13">
              <a:extLst>
                <a:ext uri="{FF2B5EF4-FFF2-40B4-BE49-F238E27FC236}">
                  <a16:creationId xmlns:a16="http://schemas.microsoft.com/office/drawing/2014/main" id="{4F3C9268-C123-E0C3-5D8D-42652BEA64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14">
              <a:extLst>
                <a:ext uri="{FF2B5EF4-FFF2-40B4-BE49-F238E27FC236}">
                  <a16:creationId xmlns:a16="http://schemas.microsoft.com/office/drawing/2014/main" id="{939EA9AA-42C1-3197-BA67-7645A133C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90343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 Dark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97608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ubtitle Content Dark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AD68C878-113C-6C1D-F0EA-F13B81C9828E}"/>
              </a:ext>
            </a:extLst>
          </p:cNvPr>
          <p:cNvSpPr>
            <a:spLocks noGrp="1"/>
          </p:cNvSpPr>
          <p:nvPr>
            <p:ph type="title" idx="4294967295" hasCustomPrompt="1"/>
          </p:nvPr>
        </p:nvSpPr>
        <p:spPr>
          <a:xfrm>
            <a:off x="510571" y="295386"/>
            <a:ext cx="11009313" cy="792163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z="2400" spc="-45"/>
              <a:t>Sample Text</a:t>
            </a:r>
            <a:endParaRPr lang="en-US" sz="3200"/>
          </a:p>
        </p:txBody>
      </p:sp>
    </p:spTree>
    <p:extLst>
      <p:ext uri="{BB962C8B-B14F-4D97-AF65-F5344CB8AC3E}">
        <p14:creationId xmlns:p14="http://schemas.microsoft.com/office/powerpoint/2010/main" val="278837133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seul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0850DA69-657E-41C3-B340-B16C354CA1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11406187" cy="4951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6BB52B-0C5D-4023-89D5-282E9A5202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02105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9B0A5E-3FA6-B19F-1DBF-74026BF5D9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3" y="388188"/>
            <a:ext cx="10136187" cy="716711"/>
          </a:xfrm>
        </p:spPr>
        <p:txBody>
          <a:bodyPr anchor="t"/>
          <a:lstStyle>
            <a:lvl1pPr>
              <a:defRPr kumimoji="0" lang="en-GB" sz="2600" b="0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798927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 dark grey">
    <p:bg>
      <p:bgPr>
        <a:solidFill>
          <a:srgbClr val="2729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E6BB52B-0C5D-4023-89D5-282E9A5202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6230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 dark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E6BB52B-0C5D-4023-89D5-282E9A5202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0850DA69-657E-41C3-B340-B16C354CA1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11406187" cy="4951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11177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62111074-3DEE-D9AA-194F-524D63907A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Subtitle">
            <a:extLst>
              <a:ext uri="{FF2B5EF4-FFF2-40B4-BE49-F238E27FC236}">
                <a16:creationId xmlns:a16="http://schemas.microsoft.com/office/drawing/2014/main" id="{70ACFCFC-1DDE-342C-6F6C-421985D8A34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988" y="5460790"/>
            <a:ext cx="11090275" cy="246221"/>
          </a:xfrm>
          <a:prstGeom prst="rect">
            <a:avLst/>
          </a:prstGeom>
        </p:spPr>
        <p:txBody>
          <a:bodyPr wrap="square" lIns="18000" tIns="0" rIns="0" anchor="b" anchorCtr="0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BA5DDAC5-BAB8-79F8-0B48-89767D2C03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4697327"/>
            <a:ext cx="11090276" cy="747897"/>
          </a:xfr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E69EBB3-F16E-FF84-50A0-448B15F44B9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3568" y="6021288"/>
            <a:ext cx="1872000" cy="420870"/>
            <a:chOff x="5094083" y="5360390"/>
            <a:chExt cx="3039349" cy="683316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D88BDFC9-4B52-13D5-D26F-0A3C9865B3E2}"/>
                </a:ext>
              </a:extLst>
            </p:cNvPr>
            <p:cNvSpPr/>
            <p:nvPr/>
          </p:nvSpPr>
          <p:spPr>
            <a:xfrm>
              <a:off x="5094083" y="5369283"/>
              <a:ext cx="2467942" cy="674423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BDAD5010-EFAE-0076-BBE5-3A6A0D01C511}"/>
                </a:ext>
              </a:extLst>
            </p:cNvPr>
            <p:cNvSpPr/>
            <p:nvPr/>
          </p:nvSpPr>
          <p:spPr>
            <a:xfrm>
              <a:off x="6953539" y="5402609"/>
              <a:ext cx="74112" cy="81524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62B9414-8377-6803-6379-54A9723A65A9}"/>
                </a:ext>
              </a:extLst>
            </p:cNvPr>
            <p:cNvSpPr/>
            <p:nvPr/>
          </p:nvSpPr>
          <p:spPr>
            <a:xfrm>
              <a:off x="7436776" y="5416688"/>
              <a:ext cx="74112" cy="74112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95354E63-933F-E16D-323B-4158744024DE}"/>
                </a:ext>
              </a:extLst>
            </p:cNvPr>
            <p:cNvSpPr/>
            <p:nvPr/>
          </p:nvSpPr>
          <p:spPr>
            <a:xfrm>
              <a:off x="7591670" y="5360390"/>
              <a:ext cx="526198" cy="452086"/>
            </a:xfrm>
            <a:custGeom>
              <a:avLst/>
              <a:gdLst>
                <a:gd name="connsiteX0" fmla="*/ 553879 w 676275"/>
                <a:gd name="connsiteY0" fmla="*/ 254794 h 581025"/>
                <a:gd name="connsiteX1" fmla="*/ 451009 w 676275"/>
                <a:gd name="connsiteY1" fmla="*/ 342424 h 581025"/>
                <a:gd name="connsiteX2" fmla="*/ 375761 w 676275"/>
                <a:gd name="connsiteY2" fmla="*/ 469106 h 581025"/>
                <a:gd name="connsiteX3" fmla="*/ 273844 w 676275"/>
                <a:gd name="connsiteY3" fmla="*/ 561499 h 581025"/>
                <a:gd name="connsiteX4" fmla="*/ 132874 w 676275"/>
                <a:gd name="connsiteY4" fmla="*/ 569119 h 581025"/>
                <a:gd name="connsiteX5" fmla="*/ 7144 w 676275"/>
                <a:gd name="connsiteY5" fmla="*/ 383381 h 581025"/>
                <a:gd name="connsiteX6" fmla="*/ 371951 w 676275"/>
                <a:gd name="connsiteY6" fmla="*/ 7144 h 581025"/>
                <a:gd name="connsiteX7" fmla="*/ 371951 w 676275"/>
                <a:gd name="connsiteY7" fmla="*/ 7144 h 581025"/>
                <a:gd name="connsiteX8" fmla="*/ 371951 w 676275"/>
                <a:gd name="connsiteY8" fmla="*/ 7144 h 581025"/>
                <a:gd name="connsiteX9" fmla="*/ 388144 w 676275"/>
                <a:gd name="connsiteY9" fmla="*/ 13811 h 581025"/>
                <a:gd name="connsiteX10" fmla="*/ 571024 w 676275"/>
                <a:gd name="connsiteY10" fmla="*/ 127159 h 581025"/>
                <a:gd name="connsiteX11" fmla="*/ 675799 w 676275"/>
                <a:gd name="connsiteY11" fmla="*/ 287179 h 581025"/>
                <a:gd name="connsiteX12" fmla="*/ 553879 w 676275"/>
                <a:gd name="connsiteY12" fmla="*/ 254794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6275" h="581025">
                  <a:moveTo>
                    <a:pt x="553879" y="254794"/>
                  </a:moveTo>
                  <a:cubicBezTo>
                    <a:pt x="507206" y="265271"/>
                    <a:pt x="475774" y="304324"/>
                    <a:pt x="451009" y="342424"/>
                  </a:cubicBezTo>
                  <a:cubicBezTo>
                    <a:pt x="424339" y="383381"/>
                    <a:pt x="403384" y="428149"/>
                    <a:pt x="375761" y="469106"/>
                  </a:cubicBezTo>
                  <a:cubicBezTo>
                    <a:pt x="349091" y="507206"/>
                    <a:pt x="316706" y="542449"/>
                    <a:pt x="273844" y="561499"/>
                  </a:cubicBezTo>
                  <a:cubicBezTo>
                    <a:pt x="229076" y="581501"/>
                    <a:pt x="179546" y="584359"/>
                    <a:pt x="132874" y="569119"/>
                  </a:cubicBezTo>
                  <a:cubicBezTo>
                    <a:pt x="58579" y="538639"/>
                    <a:pt x="7144" y="464344"/>
                    <a:pt x="7144" y="383381"/>
                  </a:cubicBezTo>
                  <a:cubicBezTo>
                    <a:pt x="7144" y="177641"/>
                    <a:pt x="290036" y="105251"/>
                    <a:pt x="371951" y="7144"/>
                  </a:cubicBezTo>
                  <a:cubicBezTo>
                    <a:pt x="371951" y="7144"/>
                    <a:pt x="371951" y="7144"/>
                    <a:pt x="371951" y="7144"/>
                  </a:cubicBezTo>
                  <a:lnTo>
                    <a:pt x="371951" y="7144"/>
                  </a:lnTo>
                  <a:cubicBezTo>
                    <a:pt x="377666" y="9049"/>
                    <a:pt x="382429" y="11906"/>
                    <a:pt x="388144" y="13811"/>
                  </a:cubicBezTo>
                  <a:cubicBezTo>
                    <a:pt x="454819" y="41434"/>
                    <a:pt x="517684" y="78581"/>
                    <a:pt x="571024" y="127159"/>
                  </a:cubicBezTo>
                  <a:cubicBezTo>
                    <a:pt x="620554" y="172879"/>
                    <a:pt x="657701" y="226219"/>
                    <a:pt x="675799" y="287179"/>
                  </a:cubicBezTo>
                  <a:cubicBezTo>
                    <a:pt x="646271" y="255746"/>
                    <a:pt x="595789" y="244316"/>
                    <a:pt x="553879" y="25479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3282B337-C34B-A9BB-1250-1DB92F3CA9B3}"/>
                </a:ext>
              </a:extLst>
            </p:cNvPr>
            <p:cNvSpPr/>
            <p:nvPr/>
          </p:nvSpPr>
          <p:spPr>
            <a:xfrm>
              <a:off x="7777693" y="5570011"/>
              <a:ext cx="355739" cy="289038"/>
            </a:xfrm>
            <a:custGeom>
              <a:avLst/>
              <a:gdLst>
                <a:gd name="connsiteX0" fmla="*/ 443389 w 457200"/>
                <a:gd name="connsiteY0" fmla="*/ 151121 h 371475"/>
                <a:gd name="connsiteX1" fmla="*/ 340519 w 457200"/>
                <a:gd name="connsiteY1" fmla="*/ 250181 h 371475"/>
                <a:gd name="connsiteX2" fmla="*/ 193834 w 457200"/>
                <a:gd name="connsiteY2" fmla="*/ 204461 h 371475"/>
                <a:gd name="connsiteX3" fmla="*/ 299561 w 457200"/>
                <a:gd name="connsiteY3" fmla="*/ 298759 h 371475"/>
                <a:gd name="connsiteX4" fmla="*/ 161449 w 457200"/>
                <a:gd name="connsiteY4" fmla="*/ 360671 h 371475"/>
                <a:gd name="connsiteX5" fmla="*/ 79534 w 457200"/>
                <a:gd name="connsiteY5" fmla="*/ 367339 h 371475"/>
                <a:gd name="connsiteX6" fmla="*/ 7144 w 457200"/>
                <a:gd name="connsiteY6" fmla="*/ 348289 h 371475"/>
                <a:gd name="connsiteX7" fmla="*/ 120491 w 457200"/>
                <a:gd name="connsiteY7" fmla="*/ 276851 h 371475"/>
                <a:gd name="connsiteX8" fmla="*/ 188119 w 457200"/>
                <a:gd name="connsiteY8" fmla="*/ 175886 h 371475"/>
                <a:gd name="connsiteX9" fmla="*/ 250031 w 457200"/>
                <a:gd name="connsiteY9" fmla="*/ 64444 h 371475"/>
                <a:gd name="connsiteX10" fmla="*/ 339566 w 457200"/>
                <a:gd name="connsiteY10" fmla="*/ 7294 h 371475"/>
                <a:gd name="connsiteX11" fmla="*/ 438626 w 457200"/>
                <a:gd name="connsiteY11" fmla="*/ 58729 h 371475"/>
                <a:gd name="connsiteX12" fmla="*/ 443389 w 457200"/>
                <a:gd name="connsiteY12" fmla="*/ 15112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7200" h="371475">
                  <a:moveTo>
                    <a:pt x="443389" y="151121"/>
                  </a:moveTo>
                  <a:cubicBezTo>
                    <a:pt x="428149" y="198746"/>
                    <a:pt x="389096" y="236846"/>
                    <a:pt x="340519" y="250181"/>
                  </a:cubicBezTo>
                  <a:cubicBezTo>
                    <a:pt x="285274" y="265421"/>
                    <a:pt x="230029" y="249229"/>
                    <a:pt x="193834" y="204461"/>
                  </a:cubicBezTo>
                  <a:cubicBezTo>
                    <a:pt x="197644" y="261611"/>
                    <a:pt x="243364" y="299711"/>
                    <a:pt x="299561" y="298759"/>
                  </a:cubicBezTo>
                  <a:cubicBezTo>
                    <a:pt x="263366" y="334954"/>
                    <a:pt x="210026" y="352099"/>
                    <a:pt x="161449" y="360671"/>
                  </a:cubicBezTo>
                  <a:cubicBezTo>
                    <a:pt x="134779" y="365434"/>
                    <a:pt x="107156" y="368291"/>
                    <a:pt x="79534" y="367339"/>
                  </a:cubicBezTo>
                  <a:cubicBezTo>
                    <a:pt x="55721" y="366386"/>
                    <a:pt x="27146" y="363529"/>
                    <a:pt x="7144" y="348289"/>
                  </a:cubicBezTo>
                  <a:cubicBezTo>
                    <a:pt x="50959" y="334954"/>
                    <a:pt x="90011" y="310189"/>
                    <a:pt x="120491" y="276851"/>
                  </a:cubicBezTo>
                  <a:cubicBezTo>
                    <a:pt x="148114" y="246371"/>
                    <a:pt x="169069" y="211129"/>
                    <a:pt x="188119" y="175886"/>
                  </a:cubicBezTo>
                  <a:cubicBezTo>
                    <a:pt x="208121" y="138739"/>
                    <a:pt x="225266" y="98734"/>
                    <a:pt x="250031" y="64444"/>
                  </a:cubicBezTo>
                  <a:cubicBezTo>
                    <a:pt x="271939" y="33964"/>
                    <a:pt x="300514" y="9199"/>
                    <a:pt x="339566" y="7294"/>
                  </a:cubicBezTo>
                  <a:cubicBezTo>
                    <a:pt x="379571" y="5389"/>
                    <a:pt x="419576" y="21581"/>
                    <a:pt x="438626" y="58729"/>
                  </a:cubicBezTo>
                  <a:cubicBezTo>
                    <a:pt x="453866" y="88256"/>
                    <a:pt x="452914" y="120641"/>
                    <a:pt x="443389" y="15112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4FE97F8-E106-7E39-B211-017941A8B627}"/>
              </a:ext>
            </a:extLst>
          </p:cNvPr>
          <p:cNvCxnSpPr/>
          <p:nvPr userDrawn="1"/>
        </p:nvCxnSpPr>
        <p:spPr>
          <a:xfrm>
            <a:off x="2479249" y="5971880"/>
            <a:ext cx="0" cy="452487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 descr="Siemens Logo">
            <a:extLst>
              <a:ext uri="{FF2B5EF4-FFF2-40B4-BE49-F238E27FC236}">
                <a16:creationId xmlns:a16="http://schemas.microsoft.com/office/drawing/2014/main" id="{60DD4230-5EA0-71C9-7912-A6C8A862603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2931" y="6072398"/>
            <a:ext cx="1433674" cy="2273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117742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ubtitle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ue and gold light waves&#10;&#10;Description automatically generated with medium confidence">
            <a:extLst>
              <a:ext uri="{FF2B5EF4-FFF2-40B4-BE49-F238E27FC236}">
                <a16:creationId xmlns:a16="http://schemas.microsoft.com/office/drawing/2014/main" id="{B6FA2531-DAB2-A92A-3A27-4C37D7A10F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485000"/>
            <a:ext cx="12192000" cy="5360439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9A876AC-FDE9-C187-D9E6-27C489312527}"/>
              </a:ext>
            </a:extLst>
          </p:cNvPr>
          <p:cNvSpPr/>
          <p:nvPr userDrawn="1"/>
        </p:nvSpPr>
        <p:spPr>
          <a:xfrm>
            <a:off x="0" y="12560"/>
            <a:ext cx="12192000" cy="6566434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/>
              </a:gs>
            </a:gsLst>
            <a:lin ang="16200000" scaled="1"/>
            <a:tileRect/>
          </a:gra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5CFA82C-909C-6465-1EC6-5CA9660159E1}"/>
              </a:ext>
            </a:extLst>
          </p:cNvPr>
          <p:cNvSpPr/>
          <p:nvPr userDrawn="1"/>
        </p:nvSpPr>
        <p:spPr>
          <a:xfrm>
            <a:off x="1" y="0"/>
            <a:ext cx="12192000" cy="6845439"/>
          </a:xfrm>
          <a:prstGeom prst="rect">
            <a:avLst/>
          </a:prstGeom>
          <a:gradFill flip="none" rotWithShape="1">
            <a:gsLst>
              <a:gs pos="24000">
                <a:schemeClr val="accent4"/>
              </a:gs>
              <a:gs pos="100000">
                <a:schemeClr val="accent4">
                  <a:alpha val="58000"/>
                </a:schemeClr>
              </a:gs>
            </a:gsLst>
            <a:lin ang="5400000" scaled="1"/>
            <a:tileRect/>
          </a:gra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5" name="Rectangle 27">
            <a:extLst>
              <a:ext uri="{FF2B5EF4-FFF2-40B4-BE49-F238E27FC236}">
                <a16:creationId xmlns:a16="http://schemas.microsoft.com/office/drawing/2014/main" id="{691D1F38-7486-516F-DD72-A810A4FFD752}"/>
              </a:ext>
            </a:extLst>
          </p:cNvPr>
          <p:cNvSpPr/>
          <p:nvPr userDrawn="1"/>
        </p:nvSpPr>
        <p:spPr>
          <a:xfrm>
            <a:off x="7131820" y="6517871"/>
            <a:ext cx="4532162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700">
                <a:solidFill>
                  <a:schemeClr val="bg1">
                    <a:lumMod val="65000"/>
                  </a:schemeClr>
                </a:solidFill>
                <a:latin typeface="+mn-lt"/>
                <a:cs typeface="Arial" panose="020B0604020202020204" pitchFamily="34" charset="0"/>
              </a:rPr>
              <a:t>Company Confidential © Capgemini 2025. All rights reserved  |</a:t>
            </a:r>
          </a:p>
        </p:txBody>
      </p:sp>
      <p:sp>
        <p:nvSpPr>
          <p:cNvPr id="16" name="Rectangle 43">
            <a:extLst>
              <a:ext uri="{FF2B5EF4-FFF2-40B4-BE49-F238E27FC236}">
                <a16:creationId xmlns:a16="http://schemas.microsoft.com/office/drawing/2014/main" id="{570F123E-916F-4FEF-B464-F1FD6B792D83}"/>
              </a:ext>
            </a:extLst>
          </p:cNvPr>
          <p:cNvSpPr/>
          <p:nvPr userDrawn="1"/>
        </p:nvSpPr>
        <p:spPr>
          <a:xfrm>
            <a:off x="11648878" y="6517658"/>
            <a:ext cx="229263" cy="21544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latin typeface="+mn-lt"/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chemeClr val="bg1">
                  <a:lumMod val="65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8ACBB20-4B65-4B31-C01A-099938E441B4}"/>
              </a:ext>
            </a:extLst>
          </p:cNvPr>
          <p:cNvSpPr/>
          <p:nvPr userDrawn="1"/>
        </p:nvSpPr>
        <p:spPr>
          <a:xfrm>
            <a:off x="654520" y="0"/>
            <a:ext cx="4478852" cy="4466121"/>
          </a:xfrm>
          <a:prstGeom prst="rect">
            <a:avLst/>
          </a:prstGeom>
          <a:solidFill>
            <a:schemeClr val="accent1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B74FF1AA-8BC9-E033-2D6E-93D485E290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69861" y="483534"/>
            <a:ext cx="1597139" cy="1354137"/>
          </a:xfrm>
          <a:noFill/>
        </p:spPr>
        <p:txBody>
          <a:bodyPr anchor="b"/>
          <a:lstStyle>
            <a:lvl1pPr>
              <a:defRPr sz="8800" b="0" spc="-300" baseline="0">
                <a:solidFill>
                  <a:schemeClr val="bg1">
                    <a:alpha val="50000"/>
                  </a:schemeClr>
                </a:solidFill>
                <a:latin typeface="+mj-lt"/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D5AB5DCF-1133-0772-F3B4-152D560F81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69861" y="1932317"/>
            <a:ext cx="3817421" cy="2165230"/>
          </a:xfrm>
          <a:noFill/>
        </p:spPr>
        <p:txBody>
          <a:bodyPr anchor="t"/>
          <a:lstStyle>
            <a:lvl1pPr>
              <a:def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ection divider text 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F33AAE6-36FD-07B8-62B6-A8E9897A84B5}"/>
              </a:ext>
            </a:extLst>
          </p:cNvPr>
          <p:cNvGrpSpPr/>
          <p:nvPr userDrawn="1"/>
        </p:nvGrpSpPr>
        <p:grpSpPr>
          <a:xfrm>
            <a:off x="11611637" y="75777"/>
            <a:ext cx="414895" cy="237730"/>
            <a:chOff x="11368216" y="171573"/>
            <a:chExt cx="552322" cy="388988"/>
          </a:xfrm>
        </p:grpSpPr>
        <p:grpSp>
          <p:nvGrpSpPr>
            <p:cNvPr id="3" name="Groupe 1">
              <a:extLst>
                <a:ext uri="{FF2B5EF4-FFF2-40B4-BE49-F238E27FC236}">
                  <a16:creationId xmlns:a16="http://schemas.microsoft.com/office/drawing/2014/main" id="{1CB43DA3-0492-1112-8DC6-6E2CD81B7EDD}"/>
                </a:ext>
              </a:extLst>
            </p:cNvPr>
            <p:cNvGrpSpPr/>
            <p:nvPr userDrawn="1"/>
          </p:nvGrpSpPr>
          <p:grpSpPr>
            <a:xfrm>
              <a:off x="11501102" y="171573"/>
              <a:ext cx="419436" cy="388988"/>
              <a:chOff x="11501102" y="171573"/>
              <a:chExt cx="419436" cy="388988"/>
            </a:xfrm>
          </p:grpSpPr>
          <p:sp>
            <p:nvSpPr>
              <p:cNvPr id="9" name="Freeform 13">
                <a:extLst>
                  <a:ext uri="{FF2B5EF4-FFF2-40B4-BE49-F238E27FC236}">
                    <a16:creationId xmlns:a16="http://schemas.microsoft.com/office/drawing/2014/main" id="{3E63B5B0-DB60-6D96-2557-C59A9CC537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44642" y="334376"/>
                <a:ext cx="275896" cy="226185"/>
              </a:xfrm>
              <a:custGeom>
                <a:avLst/>
                <a:gdLst/>
                <a:ahLst/>
                <a:cxnLst>
                  <a:cxn ang="0">
                    <a:pos x="125" y="107"/>
                  </a:cxn>
                  <a:cxn ang="0">
                    <a:pos x="188" y="43"/>
                  </a:cxn>
                  <a:cxn ang="0">
                    <a:pos x="141" y="0"/>
                  </a:cxn>
                  <a:cxn ang="0">
                    <a:pos x="49" y="99"/>
                  </a:cxn>
                  <a:cxn ang="0">
                    <a:pos x="0" y="144"/>
                  </a:cxn>
                  <a:cxn ang="0">
                    <a:pos x="37" y="154"/>
                  </a:cxn>
                  <a:cxn ang="0">
                    <a:pos x="125" y="125"/>
                  </a:cxn>
                  <a:cxn ang="0">
                    <a:pos x="81" y="86"/>
                  </a:cxn>
                  <a:cxn ang="0">
                    <a:pos x="125" y="107"/>
                  </a:cxn>
                </a:cxnLst>
                <a:rect l="0" t="0" r="r" b="b"/>
                <a:pathLst>
                  <a:path w="188" h="154">
                    <a:moveTo>
                      <a:pt x="125" y="107"/>
                    </a:moveTo>
                    <a:cubicBezTo>
                      <a:pt x="160" y="107"/>
                      <a:pt x="188" y="78"/>
                      <a:pt x="188" y="43"/>
                    </a:cubicBezTo>
                    <a:cubicBezTo>
                      <a:pt x="186" y="28"/>
                      <a:pt x="181" y="0"/>
                      <a:pt x="141" y="0"/>
                    </a:cubicBezTo>
                    <a:cubicBezTo>
                      <a:pt x="99" y="0"/>
                      <a:pt x="84" y="60"/>
                      <a:pt x="49" y="99"/>
                    </a:cubicBezTo>
                    <a:cubicBezTo>
                      <a:pt x="47" y="121"/>
                      <a:pt x="26" y="140"/>
                      <a:pt x="0" y="144"/>
                    </a:cubicBezTo>
                    <a:cubicBezTo>
                      <a:pt x="6" y="150"/>
                      <a:pt x="20" y="154"/>
                      <a:pt x="37" y="154"/>
                    </a:cubicBezTo>
                    <a:cubicBezTo>
                      <a:pt x="68" y="154"/>
                      <a:pt x="106" y="145"/>
                      <a:pt x="125" y="125"/>
                    </a:cubicBezTo>
                    <a:cubicBezTo>
                      <a:pt x="99" y="126"/>
                      <a:pt x="82" y="109"/>
                      <a:pt x="81" y="86"/>
                    </a:cubicBezTo>
                    <a:cubicBezTo>
                      <a:pt x="93" y="101"/>
                      <a:pt x="108" y="107"/>
                      <a:pt x="125" y="107"/>
                    </a:cubicBezTo>
                  </a:path>
                </a:pathLst>
              </a:custGeom>
              <a:solidFill>
                <a:srgbClr val="12ABD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0" name="Freeform 14">
                <a:extLst>
                  <a:ext uri="{FF2B5EF4-FFF2-40B4-BE49-F238E27FC236}">
                    <a16:creationId xmlns:a16="http://schemas.microsoft.com/office/drawing/2014/main" id="{2369D30F-6F6A-B7CD-277C-CD5962D7F0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01102" y="171573"/>
                <a:ext cx="419436" cy="356676"/>
              </a:xfrm>
              <a:custGeom>
                <a:avLst/>
                <a:gdLst/>
                <a:ahLst/>
                <a:cxnLst>
                  <a:cxn ang="0">
                    <a:pos x="286" y="152"/>
                  </a:cxn>
                  <a:cxn ang="0">
                    <a:pos x="237" y="51"/>
                  </a:cxn>
                  <a:cxn ang="0">
                    <a:pos x="160" y="3"/>
                  </a:cxn>
                  <a:cxn ang="0">
                    <a:pos x="153" y="0"/>
                  </a:cxn>
                  <a:cxn ang="0">
                    <a:pos x="153" y="0"/>
                  </a:cxn>
                  <a:cxn ang="0">
                    <a:pos x="0" y="158"/>
                  </a:cxn>
                  <a:cxn ang="0">
                    <a:pos x="53" y="236"/>
                  </a:cxn>
                  <a:cxn ang="0">
                    <a:pos x="107" y="237"/>
                  </a:cxn>
                  <a:cxn ang="0">
                    <a:pos x="147" y="210"/>
                  </a:cxn>
                  <a:cxn ang="0">
                    <a:pos x="239" y="111"/>
                  </a:cxn>
                  <a:cxn ang="0">
                    <a:pos x="286" y="154"/>
                  </a:cxn>
                  <a:cxn ang="0">
                    <a:pos x="286" y="152"/>
                  </a:cxn>
                </a:cxnLst>
                <a:rect l="0" t="0" r="r" b="b"/>
                <a:pathLst>
                  <a:path w="286" h="243">
                    <a:moveTo>
                      <a:pt x="286" y="152"/>
                    </a:moveTo>
                    <a:cubicBezTo>
                      <a:pt x="286" y="112"/>
                      <a:pt x="266" y="78"/>
                      <a:pt x="237" y="51"/>
                    </a:cubicBezTo>
                    <a:cubicBezTo>
                      <a:pt x="215" y="30"/>
                      <a:pt x="188" y="15"/>
                      <a:pt x="160" y="3"/>
                    </a:cubicBezTo>
                    <a:cubicBezTo>
                      <a:pt x="158" y="2"/>
                      <a:pt x="156" y="1"/>
                      <a:pt x="153" y="0"/>
                    </a:cubicBezTo>
                    <a:cubicBezTo>
                      <a:pt x="153" y="0"/>
                      <a:pt x="153" y="0"/>
                      <a:pt x="153" y="0"/>
                    </a:cubicBezTo>
                    <a:cubicBezTo>
                      <a:pt x="119" y="41"/>
                      <a:pt x="0" y="72"/>
                      <a:pt x="0" y="158"/>
                    </a:cubicBezTo>
                    <a:cubicBezTo>
                      <a:pt x="0" y="192"/>
                      <a:pt x="21" y="224"/>
                      <a:pt x="53" y="236"/>
                    </a:cubicBezTo>
                    <a:cubicBezTo>
                      <a:pt x="71" y="243"/>
                      <a:pt x="89" y="243"/>
                      <a:pt x="107" y="237"/>
                    </a:cubicBezTo>
                    <a:cubicBezTo>
                      <a:pt x="123" y="232"/>
                      <a:pt x="136" y="222"/>
                      <a:pt x="147" y="210"/>
                    </a:cubicBezTo>
                    <a:cubicBezTo>
                      <a:pt x="182" y="171"/>
                      <a:pt x="197" y="111"/>
                      <a:pt x="239" y="111"/>
                    </a:cubicBezTo>
                    <a:cubicBezTo>
                      <a:pt x="279" y="111"/>
                      <a:pt x="284" y="139"/>
                      <a:pt x="286" y="154"/>
                    </a:cubicBezTo>
                    <a:cubicBezTo>
                      <a:pt x="286" y="154"/>
                      <a:pt x="286" y="153"/>
                      <a:pt x="286" y="152"/>
                    </a:cubicBezTo>
                  </a:path>
                </a:pathLst>
              </a:custGeom>
              <a:solidFill>
                <a:srgbClr val="0070A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B631DF6A-0715-F5CF-6B78-908F775DC598}"/>
                </a:ext>
              </a:extLst>
            </p:cNvPr>
            <p:cNvCxnSpPr/>
            <p:nvPr userDrawn="1"/>
          </p:nvCxnSpPr>
          <p:spPr>
            <a:xfrm>
              <a:off x="11368216" y="230659"/>
              <a:ext cx="0" cy="297590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107251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c">
    <p:bg>
      <p:bgPr>
        <a:gradFill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3A966515-C64B-E7BB-1198-D99D16DE65B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343473" y="1"/>
            <a:ext cx="10877102" cy="2931886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Insert Picture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C410B-B58E-46DB-B5F0-7F515E223D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43473" y="5498477"/>
            <a:ext cx="10440540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Optional: Click to insert name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A6C182ED-7FBB-D436-05D8-96E184F17B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43473" y="5082209"/>
            <a:ext cx="10440540" cy="246221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6ABBE1C-3373-50D9-4152-CA1AC4A5E7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43473" y="3429000"/>
            <a:ext cx="10440540" cy="1580003"/>
          </a:xfr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3" name="Graphique 2">
            <a:extLst>
              <a:ext uri="{FF2B5EF4-FFF2-40B4-BE49-F238E27FC236}">
                <a16:creationId xmlns:a16="http://schemas.microsoft.com/office/drawing/2014/main" id="{55F61D2F-C668-D733-F6F7-B8B6B075C5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25473" y="5975962"/>
            <a:ext cx="2988000" cy="453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362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Slide dark">
    <p:bg>
      <p:bgPr>
        <a:solidFill>
          <a:srgbClr val="2729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D4C87536-14D9-1C92-1114-2BE764DFE9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9381" y="3837746"/>
            <a:ext cx="8938728" cy="3477505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5ACF1211-C28D-FCA4-B36E-E08F106C8C67}"/>
              </a:ext>
            </a:extLst>
          </p:cNvPr>
          <p:cNvSpPr/>
          <p:nvPr userDrawn="1"/>
        </p:nvSpPr>
        <p:spPr>
          <a:xfrm>
            <a:off x="8514289" y="6053226"/>
            <a:ext cx="3234143" cy="40011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700" noProof="0">
                <a:solidFill>
                  <a:schemeClr val="bg1"/>
                </a:solidFill>
                <a:latin typeface="+mn-lt"/>
                <a:cs typeface="Arial"/>
              </a:rPr>
              <a:t>This presentation contains information that may be privileged or confidential and is the property of the Capgemini Group.</a:t>
            </a:r>
          </a:p>
          <a:p>
            <a:pPr>
              <a:spcAft>
                <a:spcPts val="600"/>
              </a:spcAft>
            </a:pPr>
            <a:r>
              <a:rPr lang="en-US" sz="700" noProof="0">
                <a:solidFill>
                  <a:schemeClr val="bg1"/>
                </a:solidFill>
                <a:latin typeface="+mn-lt"/>
                <a:cs typeface="Arial"/>
              </a:rPr>
              <a:t>Copyright © 2025 Capgemini. All rights reserved.</a:t>
            </a:r>
          </a:p>
        </p:txBody>
      </p:sp>
      <p:pic>
        <p:nvPicPr>
          <p:cNvPr id="4" name="Graphique 3">
            <a:extLst>
              <a:ext uri="{FF2B5EF4-FFF2-40B4-BE49-F238E27FC236}">
                <a16:creationId xmlns:a16="http://schemas.microsoft.com/office/drawing/2014/main" id="{3BC4D069-1FD5-E61B-1B7C-D34508D8CA2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2694" y="5960968"/>
            <a:ext cx="3240000" cy="492220"/>
          </a:xfrm>
          <a:prstGeom prst="rect">
            <a:avLst/>
          </a:prstGeom>
        </p:spPr>
      </p:pic>
      <p:pic>
        <p:nvPicPr>
          <p:cNvPr id="5" name="Picture 7">
            <a:hlinkClick r:id="rId5"/>
            <a:extLst>
              <a:ext uri="{FF2B5EF4-FFF2-40B4-BE49-F238E27FC236}">
                <a16:creationId xmlns:a16="http://schemas.microsoft.com/office/drawing/2014/main" id="{2CDC3B80-F2EC-3060-16B1-C27C9213260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14289" y="5571089"/>
            <a:ext cx="333195" cy="333195"/>
          </a:xfrm>
          <a:prstGeom prst="rect">
            <a:avLst/>
          </a:prstGeom>
          <a:noFill/>
        </p:spPr>
      </p:pic>
      <p:pic>
        <p:nvPicPr>
          <p:cNvPr id="6" name="Picture 2">
            <a:hlinkClick r:id="rId7"/>
            <a:extLst>
              <a:ext uri="{FF2B5EF4-FFF2-40B4-BE49-F238E27FC236}">
                <a16:creationId xmlns:a16="http://schemas.microsoft.com/office/drawing/2014/main" id="{9549C6C4-21F0-BDB1-0995-42AE67FB191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06933" y="5571089"/>
            <a:ext cx="333195" cy="333195"/>
          </a:xfrm>
          <a:prstGeom prst="rect">
            <a:avLst/>
          </a:prstGeom>
          <a:noFill/>
        </p:spPr>
      </p:pic>
      <p:pic>
        <p:nvPicPr>
          <p:cNvPr id="7" name="Picture 4">
            <a:hlinkClick r:id="rId9"/>
            <a:extLst>
              <a:ext uri="{FF2B5EF4-FFF2-40B4-BE49-F238E27FC236}">
                <a16:creationId xmlns:a16="http://schemas.microsoft.com/office/drawing/2014/main" id="{F8FBF49B-9FA7-D9FE-4D50-62A789E9353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99577" y="5571089"/>
            <a:ext cx="333195" cy="333195"/>
          </a:xfrm>
          <a:prstGeom prst="rect">
            <a:avLst/>
          </a:prstGeom>
          <a:noFill/>
        </p:spPr>
      </p:pic>
      <p:pic>
        <p:nvPicPr>
          <p:cNvPr id="8" name="Picture 6">
            <a:hlinkClick r:id="rId11"/>
            <a:extLst>
              <a:ext uri="{FF2B5EF4-FFF2-40B4-BE49-F238E27FC236}">
                <a16:creationId xmlns:a16="http://schemas.microsoft.com/office/drawing/2014/main" id="{03EE9493-9DDE-7632-217B-6675CD7127F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92221" y="5571089"/>
            <a:ext cx="333195" cy="333195"/>
          </a:xfrm>
          <a:prstGeom prst="rect">
            <a:avLst/>
          </a:prstGeom>
          <a:noFill/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4C8AF6FF-C126-83D6-02C1-9184AFA88469}"/>
              </a:ext>
            </a:extLst>
          </p:cNvPr>
          <p:cNvGrpSpPr/>
          <p:nvPr userDrawn="1"/>
        </p:nvGrpSpPr>
        <p:grpSpPr>
          <a:xfrm>
            <a:off x="11611637" y="75777"/>
            <a:ext cx="414895" cy="237730"/>
            <a:chOff x="11368216" y="171573"/>
            <a:chExt cx="552322" cy="388988"/>
          </a:xfrm>
        </p:grpSpPr>
        <p:grpSp>
          <p:nvGrpSpPr>
            <p:cNvPr id="3" name="Groupe 1">
              <a:extLst>
                <a:ext uri="{FF2B5EF4-FFF2-40B4-BE49-F238E27FC236}">
                  <a16:creationId xmlns:a16="http://schemas.microsoft.com/office/drawing/2014/main" id="{E43EBF1C-65DB-FAAB-9BA9-65D442B26456}"/>
                </a:ext>
              </a:extLst>
            </p:cNvPr>
            <p:cNvGrpSpPr/>
            <p:nvPr userDrawn="1"/>
          </p:nvGrpSpPr>
          <p:grpSpPr>
            <a:xfrm>
              <a:off x="11501102" y="171573"/>
              <a:ext cx="419436" cy="388988"/>
              <a:chOff x="11501102" y="171573"/>
              <a:chExt cx="419436" cy="388988"/>
            </a:xfrm>
          </p:grpSpPr>
          <p:sp>
            <p:nvSpPr>
              <p:cNvPr id="11" name="Freeform 13">
                <a:extLst>
                  <a:ext uri="{FF2B5EF4-FFF2-40B4-BE49-F238E27FC236}">
                    <a16:creationId xmlns:a16="http://schemas.microsoft.com/office/drawing/2014/main" id="{1A074993-083E-C3CC-35D8-315CF1C47B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44642" y="334376"/>
                <a:ext cx="275896" cy="226185"/>
              </a:xfrm>
              <a:custGeom>
                <a:avLst/>
                <a:gdLst/>
                <a:ahLst/>
                <a:cxnLst>
                  <a:cxn ang="0">
                    <a:pos x="125" y="107"/>
                  </a:cxn>
                  <a:cxn ang="0">
                    <a:pos x="188" y="43"/>
                  </a:cxn>
                  <a:cxn ang="0">
                    <a:pos x="141" y="0"/>
                  </a:cxn>
                  <a:cxn ang="0">
                    <a:pos x="49" y="99"/>
                  </a:cxn>
                  <a:cxn ang="0">
                    <a:pos x="0" y="144"/>
                  </a:cxn>
                  <a:cxn ang="0">
                    <a:pos x="37" y="154"/>
                  </a:cxn>
                  <a:cxn ang="0">
                    <a:pos x="125" y="125"/>
                  </a:cxn>
                  <a:cxn ang="0">
                    <a:pos x="81" y="86"/>
                  </a:cxn>
                  <a:cxn ang="0">
                    <a:pos x="125" y="107"/>
                  </a:cxn>
                </a:cxnLst>
                <a:rect l="0" t="0" r="r" b="b"/>
                <a:pathLst>
                  <a:path w="188" h="154">
                    <a:moveTo>
                      <a:pt x="125" y="107"/>
                    </a:moveTo>
                    <a:cubicBezTo>
                      <a:pt x="160" y="107"/>
                      <a:pt x="188" y="78"/>
                      <a:pt x="188" y="43"/>
                    </a:cubicBezTo>
                    <a:cubicBezTo>
                      <a:pt x="186" y="28"/>
                      <a:pt x="181" y="0"/>
                      <a:pt x="141" y="0"/>
                    </a:cubicBezTo>
                    <a:cubicBezTo>
                      <a:pt x="99" y="0"/>
                      <a:pt x="84" y="60"/>
                      <a:pt x="49" y="99"/>
                    </a:cubicBezTo>
                    <a:cubicBezTo>
                      <a:pt x="47" y="121"/>
                      <a:pt x="26" y="140"/>
                      <a:pt x="0" y="144"/>
                    </a:cubicBezTo>
                    <a:cubicBezTo>
                      <a:pt x="6" y="150"/>
                      <a:pt x="20" y="154"/>
                      <a:pt x="37" y="154"/>
                    </a:cubicBezTo>
                    <a:cubicBezTo>
                      <a:pt x="68" y="154"/>
                      <a:pt x="106" y="145"/>
                      <a:pt x="125" y="125"/>
                    </a:cubicBezTo>
                    <a:cubicBezTo>
                      <a:pt x="99" y="126"/>
                      <a:pt x="82" y="109"/>
                      <a:pt x="81" y="86"/>
                    </a:cubicBezTo>
                    <a:cubicBezTo>
                      <a:pt x="93" y="101"/>
                      <a:pt x="108" y="107"/>
                      <a:pt x="125" y="107"/>
                    </a:cubicBezTo>
                  </a:path>
                </a:pathLst>
              </a:custGeom>
              <a:solidFill>
                <a:srgbClr val="12ABD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" name="Freeform 14">
                <a:extLst>
                  <a:ext uri="{FF2B5EF4-FFF2-40B4-BE49-F238E27FC236}">
                    <a16:creationId xmlns:a16="http://schemas.microsoft.com/office/drawing/2014/main" id="{523CC058-E88E-7127-935C-0BB8FB8AA3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01102" y="171573"/>
                <a:ext cx="419436" cy="356676"/>
              </a:xfrm>
              <a:custGeom>
                <a:avLst/>
                <a:gdLst/>
                <a:ahLst/>
                <a:cxnLst>
                  <a:cxn ang="0">
                    <a:pos x="286" y="152"/>
                  </a:cxn>
                  <a:cxn ang="0">
                    <a:pos x="237" y="51"/>
                  </a:cxn>
                  <a:cxn ang="0">
                    <a:pos x="160" y="3"/>
                  </a:cxn>
                  <a:cxn ang="0">
                    <a:pos x="153" y="0"/>
                  </a:cxn>
                  <a:cxn ang="0">
                    <a:pos x="153" y="0"/>
                  </a:cxn>
                  <a:cxn ang="0">
                    <a:pos x="0" y="158"/>
                  </a:cxn>
                  <a:cxn ang="0">
                    <a:pos x="53" y="236"/>
                  </a:cxn>
                  <a:cxn ang="0">
                    <a:pos x="107" y="237"/>
                  </a:cxn>
                  <a:cxn ang="0">
                    <a:pos x="147" y="210"/>
                  </a:cxn>
                  <a:cxn ang="0">
                    <a:pos x="239" y="111"/>
                  </a:cxn>
                  <a:cxn ang="0">
                    <a:pos x="286" y="154"/>
                  </a:cxn>
                  <a:cxn ang="0">
                    <a:pos x="286" y="152"/>
                  </a:cxn>
                </a:cxnLst>
                <a:rect l="0" t="0" r="r" b="b"/>
                <a:pathLst>
                  <a:path w="286" h="243">
                    <a:moveTo>
                      <a:pt x="286" y="152"/>
                    </a:moveTo>
                    <a:cubicBezTo>
                      <a:pt x="286" y="112"/>
                      <a:pt x="266" y="78"/>
                      <a:pt x="237" y="51"/>
                    </a:cubicBezTo>
                    <a:cubicBezTo>
                      <a:pt x="215" y="30"/>
                      <a:pt x="188" y="15"/>
                      <a:pt x="160" y="3"/>
                    </a:cubicBezTo>
                    <a:cubicBezTo>
                      <a:pt x="158" y="2"/>
                      <a:pt x="156" y="1"/>
                      <a:pt x="153" y="0"/>
                    </a:cubicBezTo>
                    <a:cubicBezTo>
                      <a:pt x="153" y="0"/>
                      <a:pt x="153" y="0"/>
                      <a:pt x="153" y="0"/>
                    </a:cubicBezTo>
                    <a:cubicBezTo>
                      <a:pt x="119" y="41"/>
                      <a:pt x="0" y="72"/>
                      <a:pt x="0" y="158"/>
                    </a:cubicBezTo>
                    <a:cubicBezTo>
                      <a:pt x="0" y="192"/>
                      <a:pt x="21" y="224"/>
                      <a:pt x="53" y="236"/>
                    </a:cubicBezTo>
                    <a:cubicBezTo>
                      <a:pt x="71" y="243"/>
                      <a:pt x="89" y="243"/>
                      <a:pt x="107" y="237"/>
                    </a:cubicBezTo>
                    <a:cubicBezTo>
                      <a:pt x="123" y="232"/>
                      <a:pt x="136" y="222"/>
                      <a:pt x="147" y="210"/>
                    </a:cubicBezTo>
                    <a:cubicBezTo>
                      <a:pt x="182" y="171"/>
                      <a:pt x="197" y="111"/>
                      <a:pt x="239" y="111"/>
                    </a:cubicBezTo>
                    <a:cubicBezTo>
                      <a:pt x="279" y="111"/>
                      <a:pt x="284" y="139"/>
                      <a:pt x="286" y="154"/>
                    </a:cubicBezTo>
                    <a:cubicBezTo>
                      <a:pt x="286" y="154"/>
                      <a:pt x="286" y="153"/>
                      <a:pt x="286" y="152"/>
                    </a:cubicBezTo>
                  </a:path>
                </a:pathLst>
              </a:custGeom>
              <a:solidFill>
                <a:srgbClr val="0070A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62574404-3EC7-A08E-266B-992CAD2F695D}"/>
                </a:ext>
              </a:extLst>
            </p:cNvPr>
            <p:cNvCxnSpPr/>
            <p:nvPr userDrawn="1"/>
          </p:nvCxnSpPr>
          <p:spPr>
            <a:xfrm>
              <a:off x="11368216" y="230659"/>
              <a:ext cx="0" cy="297590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672338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 dark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0513151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dark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9DD6ECC5-179C-5F3B-C558-02E8866743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3" y="388188"/>
            <a:ext cx="11379200" cy="716711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9E8B1A6-9D3D-339B-C03B-E2634578434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4971" y="1125538"/>
            <a:ext cx="11369042" cy="24622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866367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 dark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99B4C00-70D4-820E-4FA3-DFB1A5FB04B2}"/>
              </a:ext>
            </a:extLst>
          </p:cNvPr>
          <p:cNvSpPr/>
          <p:nvPr userDrawn="1"/>
        </p:nvSpPr>
        <p:spPr>
          <a:xfrm>
            <a:off x="-1" y="0"/>
            <a:ext cx="12186251" cy="6858000"/>
          </a:xfrm>
          <a:prstGeom prst="rect">
            <a:avLst/>
          </a:prstGeom>
          <a:solidFill>
            <a:srgbClr val="0005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6BB52B-0C5D-4023-89D5-282E9A5202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0850DA69-657E-41C3-B340-B16C354CA1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11406187" cy="4951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EBFA241-11DC-899C-F354-334FAD911F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321822" y="2235199"/>
            <a:ext cx="2941135" cy="281940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1196BD2-56EF-A6A6-52CD-5257C57FD1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321822" y="1"/>
            <a:ext cx="1922395" cy="2133600"/>
          </a:xfrm>
          <a:prstGeom prst="rect">
            <a:avLst/>
          </a:prstGeom>
        </p:spPr>
      </p:pic>
      <p:grpSp>
        <p:nvGrpSpPr>
          <p:cNvPr id="6" name="Groupe 1">
            <a:extLst>
              <a:ext uri="{FF2B5EF4-FFF2-40B4-BE49-F238E27FC236}">
                <a16:creationId xmlns:a16="http://schemas.microsoft.com/office/drawing/2014/main" id="{114EA72D-792B-9DD6-20DB-20661BC4221C}"/>
              </a:ext>
            </a:extLst>
          </p:cNvPr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5820746E-DE66-3F41-A330-6C9D376F8A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4E2A9AEF-48E1-81CA-D377-BFB97C609A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" name="Rectangle 27">
            <a:extLst>
              <a:ext uri="{FF2B5EF4-FFF2-40B4-BE49-F238E27FC236}">
                <a16:creationId xmlns:a16="http://schemas.microsoft.com/office/drawing/2014/main" id="{65585065-BDA9-0411-24FB-BAB186290AFB}"/>
              </a:ext>
            </a:extLst>
          </p:cNvPr>
          <p:cNvSpPr/>
          <p:nvPr userDrawn="1"/>
        </p:nvSpPr>
        <p:spPr>
          <a:xfrm>
            <a:off x="404813" y="6517871"/>
            <a:ext cx="3643080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Intelligent Process Automation  |  Intelligent Process Performance (IPP COE)</a:t>
            </a:r>
          </a:p>
        </p:txBody>
      </p:sp>
      <p:sp>
        <p:nvSpPr>
          <p:cNvPr id="11" name="Retângulo 43">
            <a:extLst>
              <a:ext uri="{FF2B5EF4-FFF2-40B4-BE49-F238E27FC236}">
                <a16:creationId xmlns:a16="http://schemas.microsoft.com/office/drawing/2014/main" id="{5D24997F-28E6-4E42-D16C-5034855FB802}"/>
              </a:ext>
            </a:extLst>
          </p:cNvPr>
          <p:cNvSpPr/>
          <p:nvPr userDrawn="1"/>
        </p:nvSpPr>
        <p:spPr>
          <a:xfrm>
            <a:off x="11744128" y="6517658"/>
            <a:ext cx="229263" cy="21544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rgbClr val="A6A6A6"/>
              </a:solidFill>
              <a:latin typeface="Ubuntu" panose="020B050403060203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27">
            <a:extLst>
              <a:ext uri="{FF2B5EF4-FFF2-40B4-BE49-F238E27FC236}">
                <a16:creationId xmlns:a16="http://schemas.microsoft.com/office/drawing/2014/main" id="{9D44F652-2201-937E-19BA-3B8C944224CD}"/>
              </a:ext>
            </a:extLst>
          </p:cNvPr>
          <p:cNvSpPr/>
          <p:nvPr userDrawn="1"/>
        </p:nvSpPr>
        <p:spPr>
          <a:xfrm>
            <a:off x="7227070" y="6517871"/>
            <a:ext cx="4532162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70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Company Confidential © Capgemini 2025. All rights reserved  |</a:t>
            </a:r>
          </a:p>
        </p:txBody>
      </p:sp>
    </p:spTree>
    <p:extLst>
      <p:ext uri="{BB962C8B-B14F-4D97-AF65-F5344CB8AC3E}">
        <p14:creationId xmlns:p14="http://schemas.microsoft.com/office/powerpoint/2010/main" val="342792573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ly Titl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7F0C9DF-D1FA-45A1-91F6-147FDC3E73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971" y="935053"/>
            <a:ext cx="11008413" cy="7921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7237639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465259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119069D-5D68-4DB4-B45F-92CCC710785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94570" y="1628775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AA1A2157-04CD-44FC-8492-E3FAFE326F1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94570" y="2221388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199E21EB-D052-4206-952C-D3FE77AA1C8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794570" y="2814001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9AA932A-4442-4987-878D-3B69D84A47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79500" y="1628775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/>
              <a:t>0x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EAA65ABF-5E47-4A8A-934B-E9458D034F7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79500" y="2221388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/>
              <a:t>0x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AE370511-ABDA-4008-B938-10F0105CBF6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79500" y="2814001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/>
              <a:t>0x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CABD3DEA-D9AC-49A6-AB02-7A5380BF518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794570" y="3406614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C143C05F-5CEC-4DA0-8030-D7B2370EBBB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794570" y="3999227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96B43F80-D448-432F-A45D-FE4715923FC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794570" y="4591841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C434EB54-C0D1-4857-9330-87FAFCC49D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79500" y="3406614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/>
              <a:t>0x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F0320016-4C9A-409B-8724-E53F23529A4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79500" y="3999227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/>
              <a:t>0x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F0279A3C-5E27-40F7-98C0-08832F4CE1F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79500" y="4591841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/>
              <a:t>0x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08BAF09-C52E-54E6-E538-78C64D8AB5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9321" y="260350"/>
            <a:ext cx="8640763" cy="7921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Picture 16">
            <a:extLst>
              <a:ext uri="{FF2B5EF4-FFF2-40B4-BE49-F238E27FC236}">
                <a16:creationId xmlns:a16="http://schemas.microsoft.com/office/drawing/2014/main" id="{21B52807-7673-5576-DEE4-0A88870C0C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95800" y="1700808"/>
            <a:ext cx="828135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146740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ubtitle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ue and gold light waves&#10;&#10;Description automatically generated with medium confidence">
            <a:extLst>
              <a:ext uri="{FF2B5EF4-FFF2-40B4-BE49-F238E27FC236}">
                <a16:creationId xmlns:a16="http://schemas.microsoft.com/office/drawing/2014/main" id="{B6FA2531-DAB2-A92A-3A27-4C37D7A10F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485000"/>
            <a:ext cx="12192000" cy="5360439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9A876AC-FDE9-C187-D9E6-27C489312527}"/>
              </a:ext>
            </a:extLst>
          </p:cNvPr>
          <p:cNvSpPr/>
          <p:nvPr userDrawn="1"/>
        </p:nvSpPr>
        <p:spPr>
          <a:xfrm>
            <a:off x="0" y="12560"/>
            <a:ext cx="12192000" cy="6566434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/>
              </a:gs>
            </a:gsLst>
            <a:lin ang="16200000" scaled="1"/>
            <a:tileRect/>
          </a:gra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5CFA82C-909C-6465-1EC6-5CA9660159E1}"/>
              </a:ext>
            </a:extLst>
          </p:cNvPr>
          <p:cNvSpPr/>
          <p:nvPr userDrawn="1"/>
        </p:nvSpPr>
        <p:spPr>
          <a:xfrm>
            <a:off x="8879" y="0"/>
            <a:ext cx="12192000" cy="6845439"/>
          </a:xfrm>
          <a:prstGeom prst="rect">
            <a:avLst/>
          </a:prstGeom>
          <a:gradFill flip="none" rotWithShape="1">
            <a:gsLst>
              <a:gs pos="24000">
                <a:schemeClr val="accent4"/>
              </a:gs>
              <a:gs pos="100000">
                <a:schemeClr val="accent4">
                  <a:alpha val="58000"/>
                </a:schemeClr>
              </a:gs>
            </a:gsLst>
            <a:lin ang="5400000" scaled="1"/>
            <a:tileRect/>
          </a:gra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5" name="Rectangle 27">
            <a:extLst>
              <a:ext uri="{FF2B5EF4-FFF2-40B4-BE49-F238E27FC236}">
                <a16:creationId xmlns:a16="http://schemas.microsoft.com/office/drawing/2014/main" id="{691D1F38-7486-516F-DD72-A810A4FFD752}"/>
              </a:ext>
            </a:extLst>
          </p:cNvPr>
          <p:cNvSpPr/>
          <p:nvPr userDrawn="1"/>
        </p:nvSpPr>
        <p:spPr>
          <a:xfrm>
            <a:off x="7131820" y="6517871"/>
            <a:ext cx="4532162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700">
                <a:solidFill>
                  <a:schemeClr val="bg1">
                    <a:lumMod val="65000"/>
                  </a:schemeClr>
                </a:solidFill>
                <a:latin typeface="+mn-lt"/>
                <a:cs typeface="Arial" panose="020B0604020202020204" pitchFamily="34" charset="0"/>
              </a:rPr>
              <a:t>Company Confidential © Capgemini 2025. All rights reserved  |</a:t>
            </a:r>
          </a:p>
        </p:txBody>
      </p:sp>
      <p:sp>
        <p:nvSpPr>
          <p:cNvPr id="16" name="Rectangle 43">
            <a:extLst>
              <a:ext uri="{FF2B5EF4-FFF2-40B4-BE49-F238E27FC236}">
                <a16:creationId xmlns:a16="http://schemas.microsoft.com/office/drawing/2014/main" id="{570F123E-916F-4FEF-B464-F1FD6B792D83}"/>
              </a:ext>
            </a:extLst>
          </p:cNvPr>
          <p:cNvSpPr/>
          <p:nvPr userDrawn="1"/>
        </p:nvSpPr>
        <p:spPr>
          <a:xfrm>
            <a:off x="11648878" y="6517658"/>
            <a:ext cx="229263" cy="21544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latin typeface="+mn-lt"/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chemeClr val="bg1">
                  <a:lumMod val="65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3D304D-DCB8-3E36-CE38-46DC1C9F0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971" y="260350"/>
            <a:ext cx="11008413" cy="7921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de-DE"/>
          </a:p>
        </p:txBody>
      </p:sp>
      <p:sp>
        <p:nvSpPr>
          <p:cNvPr id="9" name="Espace réservé du texte 9">
            <a:extLst>
              <a:ext uri="{FF2B5EF4-FFF2-40B4-BE49-F238E27FC236}">
                <a16:creationId xmlns:a16="http://schemas.microsoft.com/office/drawing/2014/main" id="{466C0C86-0EBE-2733-E36C-A2E956A94D3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857178"/>
            <a:ext cx="11406187" cy="454203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Ubuntu" panose="020B0504030602030204" pitchFamily="34" charset="0"/>
              </a:defRPr>
            </a:lvl1pPr>
            <a:lvl2pPr>
              <a:defRPr>
                <a:solidFill>
                  <a:schemeClr val="bg1"/>
                </a:solidFill>
                <a:latin typeface="Ubuntu" panose="020B0504030602030204" pitchFamily="34" charset="0"/>
              </a:defRPr>
            </a:lvl2pPr>
            <a:lvl3pPr>
              <a:defRPr>
                <a:solidFill>
                  <a:schemeClr val="bg1"/>
                </a:solidFill>
                <a:latin typeface="Ubuntu" panose="020B0504030602030204" pitchFamily="34" charset="0"/>
              </a:defRPr>
            </a:lvl3pPr>
            <a:lvl4pPr>
              <a:buClr>
                <a:schemeClr val="accent5"/>
              </a:buClr>
              <a:defRPr>
                <a:solidFill>
                  <a:schemeClr val="bg1"/>
                </a:solidFill>
                <a:latin typeface="Ubuntu" panose="020B0504030602030204" pitchFamily="34" charset="0"/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  <a:latin typeface="Ubuntu" panose="020B050403060203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Espace réservé du texte 4">
            <a:extLst>
              <a:ext uri="{FF2B5EF4-FFF2-40B4-BE49-F238E27FC236}">
                <a16:creationId xmlns:a16="http://schemas.microsoft.com/office/drawing/2014/main" id="{6FB75E98-9F06-F9E2-5385-031BB92AC1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4813" y="1327150"/>
            <a:ext cx="11379200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>
                <a:solidFill>
                  <a:srgbClr val="12ABDB"/>
                </a:solidFill>
                <a:latin typeface="Ubuntu" panose="020B0504030602030204" pitchFamily="34" charset="0"/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grpSp>
        <p:nvGrpSpPr>
          <p:cNvPr id="22" name="Groupe 1">
            <a:extLst>
              <a:ext uri="{FF2B5EF4-FFF2-40B4-BE49-F238E27FC236}">
                <a16:creationId xmlns:a16="http://schemas.microsoft.com/office/drawing/2014/main" id="{EEB2A6C6-2D7C-DB67-B804-5717848B1EF1}"/>
              </a:ext>
            </a:extLst>
          </p:cNvPr>
          <p:cNvGrpSpPr/>
          <p:nvPr userDrawn="1"/>
        </p:nvGrpSpPr>
        <p:grpSpPr>
          <a:xfrm>
            <a:off x="11711459" y="75777"/>
            <a:ext cx="315073" cy="237730"/>
            <a:chOff x="11501102" y="171573"/>
            <a:chExt cx="419436" cy="388988"/>
          </a:xfrm>
        </p:grpSpPr>
        <p:sp>
          <p:nvSpPr>
            <p:cNvPr id="28" name="Freeform 13">
              <a:extLst>
                <a:ext uri="{FF2B5EF4-FFF2-40B4-BE49-F238E27FC236}">
                  <a16:creationId xmlns:a16="http://schemas.microsoft.com/office/drawing/2014/main" id="{4F3C9268-C123-E0C3-5D8D-42652BEA64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14">
              <a:extLst>
                <a:ext uri="{FF2B5EF4-FFF2-40B4-BE49-F238E27FC236}">
                  <a16:creationId xmlns:a16="http://schemas.microsoft.com/office/drawing/2014/main" id="{939EA9AA-42C1-3197-BA67-7645A133C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26469943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position personnalisé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763088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seul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0850DA69-657E-41C3-B340-B16C354CA1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11406187" cy="4951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6BB52B-0C5D-4023-89D5-282E9A5202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49514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ull Picture White Spa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515EF69-611F-4B2F-BC64-DD310E60015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1911680 w 12192000"/>
              <a:gd name="connsiteY0" fmla="*/ 373627 h 6858000"/>
              <a:gd name="connsiteX1" fmla="*/ 11857975 w 12192000"/>
              <a:gd name="connsiteY1" fmla="*/ 408564 h 6858000"/>
              <a:gd name="connsiteX2" fmla="*/ 11820236 w 12192000"/>
              <a:gd name="connsiteY2" fmla="*/ 476983 h 6858000"/>
              <a:gd name="connsiteX3" fmla="*/ 11778143 w 12192000"/>
              <a:gd name="connsiteY3" fmla="*/ 538124 h 6858000"/>
              <a:gd name="connsiteX4" fmla="*/ 11708472 w 12192000"/>
              <a:gd name="connsiteY4" fmla="*/ 581796 h 6858000"/>
              <a:gd name="connsiteX5" fmla="*/ 11753468 w 12192000"/>
              <a:gd name="connsiteY5" fmla="*/ 593441 h 6858000"/>
              <a:gd name="connsiteX6" fmla="*/ 11802818 w 12192000"/>
              <a:gd name="connsiteY6" fmla="*/ 589074 h 6858000"/>
              <a:gd name="connsiteX7" fmla="*/ 11887005 w 12192000"/>
              <a:gd name="connsiteY7" fmla="*/ 552681 h 6858000"/>
              <a:gd name="connsiteX8" fmla="*/ 11823139 w 12192000"/>
              <a:gd name="connsiteY8" fmla="*/ 494452 h 6858000"/>
              <a:gd name="connsiteX9" fmla="*/ 11911680 w 12192000"/>
              <a:gd name="connsiteY9" fmla="*/ 522111 h 6858000"/>
              <a:gd name="connsiteX10" fmla="*/ 11974094 w 12192000"/>
              <a:gd name="connsiteY10" fmla="*/ 460970 h 6858000"/>
              <a:gd name="connsiteX11" fmla="*/ 11972642 w 12192000"/>
              <a:gd name="connsiteY11" fmla="*/ 404197 h 6858000"/>
              <a:gd name="connsiteX12" fmla="*/ 11911680 w 12192000"/>
              <a:gd name="connsiteY12" fmla="*/ 373627 h 6858000"/>
              <a:gd name="connsiteX13" fmla="*/ 11785438 w 12192000"/>
              <a:gd name="connsiteY13" fmla="*/ 207688 h 6858000"/>
              <a:gd name="connsiteX14" fmla="*/ 11562864 w 12192000"/>
              <a:gd name="connsiteY14" fmla="*/ 439169 h 6858000"/>
              <a:gd name="connsiteX15" fmla="*/ 11639965 w 12192000"/>
              <a:gd name="connsiteY15" fmla="*/ 551270 h 6858000"/>
              <a:gd name="connsiteX16" fmla="*/ 11725794 w 12192000"/>
              <a:gd name="connsiteY16" fmla="*/ 546903 h 6858000"/>
              <a:gd name="connsiteX17" fmla="*/ 11786893 w 12192000"/>
              <a:gd name="connsiteY17" fmla="*/ 490124 h 6858000"/>
              <a:gd name="connsiteX18" fmla="*/ 11833444 w 12192000"/>
              <a:gd name="connsiteY18" fmla="*/ 412964 h 6858000"/>
              <a:gd name="connsiteX19" fmla="*/ 11895998 w 12192000"/>
              <a:gd name="connsiteY19" fmla="*/ 360553 h 6858000"/>
              <a:gd name="connsiteX20" fmla="*/ 11971644 w 12192000"/>
              <a:gd name="connsiteY20" fmla="*/ 379479 h 6858000"/>
              <a:gd name="connsiteX21" fmla="*/ 11907636 w 12192000"/>
              <a:gd name="connsiteY21" fmla="*/ 281937 h 6858000"/>
              <a:gd name="connsiteX22" fmla="*/ 11795621 w 12192000"/>
              <a:gd name="connsiteY22" fmla="*/ 212056 h 6858000"/>
              <a:gd name="connsiteX23" fmla="*/ 11785438 w 12192000"/>
              <a:gd name="connsiteY23" fmla="*/ 207688 h 6858000"/>
              <a:gd name="connsiteX24" fmla="*/ 0 w 12192000"/>
              <a:gd name="connsiteY24" fmla="*/ 0 h 6858000"/>
              <a:gd name="connsiteX25" fmla="*/ 12192000 w 12192000"/>
              <a:gd name="connsiteY25" fmla="*/ 0 h 6858000"/>
              <a:gd name="connsiteX26" fmla="*/ 12192000 w 12192000"/>
              <a:gd name="connsiteY26" fmla="*/ 6858000 h 6858000"/>
              <a:gd name="connsiteX27" fmla="*/ 0 w 12192000"/>
              <a:gd name="connsiteY2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2192000" h="6858000">
                <a:moveTo>
                  <a:pt x="11911680" y="373627"/>
                </a:moveTo>
                <a:cubicBezTo>
                  <a:pt x="11888456" y="375083"/>
                  <a:pt x="11871038" y="389640"/>
                  <a:pt x="11857975" y="408564"/>
                </a:cubicBezTo>
                <a:cubicBezTo>
                  <a:pt x="11842009" y="428944"/>
                  <a:pt x="11831848" y="453692"/>
                  <a:pt x="11820236" y="476983"/>
                </a:cubicBezTo>
                <a:cubicBezTo>
                  <a:pt x="11808624" y="498819"/>
                  <a:pt x="11795561" y="519199"/>
                  <a:pt x="11778143" y="538124"/>
                </a:cubicBezTo>
                <a:cubicBezTo>
                  <a:pt x="11759274" y="558504"/>
                  <a:pt x="11736050" y="574517"/>
                  <a:pt x="11708472" y="581796"/>
                </a:cubicBezTo>
                <a:cubicBezTo>
                  <a:pt x="11721535" y="590530"/>
                  <a:pt x="11738953" y="593441"/>
                  <a:pt x="11753468" y="593441"/>
                </a:cubicBezTo>
                <a:cubicBezTo>
                  <a:pt x="11769434" y="594897"/>
                  <a:pt x="11786852" y="591986"/>
                  <a:pt x="11802818" y="589074"/>
                </a:cubicBezTo>
                <a:cubicBezTo>
                  <a:pt x="11833300" y="584707"/>
                  <a:pt x="11865232" y="574517"/>
                  <a:pt x="11887005" y="552681"/>
                </a:cubicBezTo>
                <a:cubicBezTo>
                  <a:pt x="11852169" y="552681"/>
                  <a:pt x="11824591" y="529389"/>
                  <a:pt x="11823139" y="494452"/>
                </a:cubicBezTo>
                <a:cubicBezTo>
                  <a:pt x="11844912" y="520655"/>
                  <a:pt x="11878296" y="530845"/>
                  <a:pt x="11911680" y="522111"/>
                </a:cubicBezTo>
                <a:cubicBezTo>
                  <a:pt x="11940709" y="513376"/>
                  <a:pt x="11965385" y="490085"/>
                  <a:pt x="11974094" y="460970"/>
                </a:cubicBezTo>
                <a:cubicBezTo>
                  <a:pt x="11979900" y="442046"/>
                  <a:pt x="11981351" y="423121"/>
                  <a:pt x="11972642" y="404197"/>
                </a:cubicBezTo>
                <a:cubicBezTo>
                  <a:pt x="11961030" y="382361"/>
                  <a:pt x="11936355" y="372171"/>
                  <a:pt x="11911680" y="373627"/>
                </a:cubicBezTo>
                <a:close/>
                <a:moveTo>
                  <a:pt x="11785438" y="207688"/>
                </a:moveTo>
                <a:cubicBezTo>
                  <a:pt x="11735977" y="268834"/>
                  <a:pt x="11562864" y="312510"/>
                  <a:pt x="11562864" y="439169"/>
                </a:cubicBezTo>
                <a:cubicBezTo>
                  <a:pt x="11562864" y="487212"/>
                  <a:pt x="11593413" y="533800"/>
                  <a:pt x="11639965" y="551270"/>
                </a:cubicBezTo>
                <a:cubicBezTo>
                  <a:pt x="11667605" y="561461"/>
                  <a:pt x="11698154" y="560005"/>
                  <a:pt x="11725794" y="546903"/>
                </a:cubicBezTo>
                <a:cubicBezTo>
                  <a:pt x="11751979" y="535256"/>
                  <a:pt x="11770891" y="514874"/>
                  <a:pt x="11786893" y="490124"/>
                </a:cubicBezTo>
                <a:cubicBezTo>
                  <a:pt x="11804350" y="465375"/>
                  <a:pt x="11817442" y="439169"/>
                  <a:pt x="11833444" y="412964"/>
                </a:cubicBezTo>
                <a:cubicBezTo>
                  <a:pt x="11847992" y="389670"/>
                  <a:pt x="11868358" y="366376"/>
                  <a:pt x="11895998" y="360553"/>
                </a:cubicBezTo>
                <a:cubicBezTo>
                  <a:pt x="11922183" y="353274"/>
                  <a:pt x="11952732" y="360553"/>
                  <a:pt x="11971644" y="379479"/>
                </a:cubicBezTo>
                <a:cubicBezTo>
                  <a:pt x="11960006" y="341627"/>
                  <a:pt x="11938185" y="309598"/>
                  <a:pt x="11907636" y="281937"/>
                </a:cubicBezTo>
                <a:cubicBezTo>
                  <a:pt x="11874177" y="251364"/>
                  <a:pt x="11836354" y="229526"/>
                  <a:pt x="11795621" y="212056"/>
                </a:cubicBezTo>
                <a:cubicBezTo>
                  <a:pt x="11792712" y="210600"/>
                  <a:pt x="11788348" y="209144"/>
                  <a:pt x="11785438" y="207688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 and send picture to back</a:t>
            </a:r>
          </a:p>
        </p:txBody>
      </p:sp>
      <p:grpSp>
        <p:nvGrpSpPr>
          <p:cNvPr id="12" name="Group 37">
            <a:extLst>
              <a:ext uri="{FF2B5EF4-FFF2-40B4-BE49-F238E27FC236}">
                <a16:creationId xmlns:a16="http://schemas.microsoft.com/office/drawing/2014/main" id="{410EED03-E568-4797-9F93-83A0DEAA8E73}"/>
              </a:ext>
            </a:extLst>
          </p:cNvPr>
          <p:cNvGrpSpPr/>
          <p:nvPr userDrawn="1"/>
        </p:nvGrpSpPr>
        <p:grpSpPr>
          <a:xfrm>
            <a:off x="11562864" y="207688"/>
            <a:ext cx="418487" cy="387209"/>
            <a:chOff x="5481638" y="2859088"/>
            <a:chExt cx="1231900" cy="1139825"/>
          </a:xfrm>
          <a:solidFill>
            <a:schemeClr val="bg1"/>
          </a:solidFill>
        </p:grpSpPr>
        <p:sp>
          <p:nvSpPr>
            <p:cNvPr id="13" name="Freeform 320">
              <a:extLst>
                <a:ext uri="{FF2B5EF4-FFF2-40B4-BE49-F238E27FC236}">
                  <a16:creationId xmlns:a16="http://schemas.microsoft.com/office/drawing/2014/main" id="{B7BDD3A5-74DC-407F-917E-4CAA2D7F64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81638" y="2859088"/>
              <a:ext cx="1203325" cy="1041400"/>
            </a:xfrm>
            <a:custGeom>
              <a:avLst/>
              <a:gdLst>
                <a:gd name="T0" fmla="*/ 229 w 281"/>
                <a:gd name="T1" fmla="*/ 105 h 243"/>
                <a:gd name="T2" fmla="*/ 186 w 281"/>
                <a:gd name="T3" fmla="*/ 141 h 243"/>
                <a:gd name="T4" fmla="*/ 154 w 281"/>
                <a:gd name="T5" fmla="*/ 194 h 243"/>
                <a:gd name="T6" fmla="*/ 112 w 281"/>
                <a:gd name="T7" fmla="*/ 233 h 243"/>
                <a:gd name="T8" fmla="*/ 53 w 281"/>
                <a:gd name="T9" fmla="*/ 236 h 243"/>
                <a:gd name="T10" fmla="*/ 0 w 281"/>
                <a:gd name="T11" fmla="*/ 159 h 243"/>
                <a:gd name="T12" fmla="*/ 153 w 281"/>
                <a:gd name="T13" fmla="*/ 0 h 243"/>
                <a:gd name="T14" fmla="*/ 153 w 281"/>
                <a:gd name="T15" fmla="*/ 0 h 243"/>
                <a:gd name="T16" fmla="*/ 160 w 281"/>
                <a:gd name="T17" fmla="*/ 3 h 243"/>
                <a:gd name="T18" fmla="*/ 237 w 281"/>
                <a:gd name="T19" fmla="*/ 51 h 243"/>
                <a:gd name="T20" fmla="*/ 281 w 281"/>
                <a:gd name="T21" fmla="*/ 118 h 243"/>
                <a:gd name="T22" fmla="*/ 229 w 281"/>
                <a:gd name="T23" fmla="*/ 10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1" h="243">
                  <a:moveTo>
                    <a:pt x="229" y="105"/>
                  </a:moveTo>
                  <a:cubicBezTo>
                    <a:pt x="210" y="109"/>
                    <a:pt x="196" y="125"/>
                    <a:pt x="186" y="141"/>
                  </a:cubicBezTo>
                  <a:cubicBezTo>
                    <a:pt x="175" y="159"/>
                    <a:pt x="166" y="177"/>
                    <a:pt x="154" y="194"/>
                  </a:cubicBezTo>
                  <a:cubicBezTo>
                    <a:pt x="143" y="211"/>
                    <a:pt x="130" y="225"/>
                    <a:pt x="112" y="233"/>
                  </a:cubicBezTo>
                  <a:cubicBezTo>
                    <a:pt x="93" y="242"/>
                    <a:pt x="72" y="243"/>
                    <a:pt x="53" y="236"/>
                  </a:cubicBezTo>
                  <a:cubicBezTo>
                    <a:pt x="21" y="224"/>
                    <a:pt x="0" y="192"/>
                    <a:pt x="0" y="159"/>
                  </a:cubicBezTo>
                  <a:cubicBezTo>
                    <a:pt x="0" y="72"/>
                    <a:pt x="119" y="42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55" y="1"/>
                    <a:pt x="158" y="2"/>
                    <a:pt x="160" y="3"/>
                  </a:cubicBezTo>
                  <a:cubicBezTo>
                    <a:pt x="188" y="15"/>
                    <a:pt x="214" y="30"/>
                    <a:pt x="237" y="51"/>
                  </a:cubicBezTo>
                  <a:cubicBezTo>
                    <a:pt x="258" y="70"/>
                    <a:pt x="273" y="92"/>
                    <a:pt x="281" y="118"/>
                  </a:cubicBezTo>
                  <a:cubicBezTo>
                    <a:pt x="268" y="105"/>
                    <a:pt x="247" y="100"/>
                    <a:pt x="229" y="10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321">
              <a:extLst>
                <a:ext uri="{FF2B5EF4-FFF2-40B4-BE49-F238E27FC236}">
                  <a16:creationId xmlns:a16="http://schemas.microsoft.com/office/drawing/2014/main" id="{AFD49D75-8E14-497D-BFBC-1AB7413E4B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10263" y="3343275"/>
              <a:ext cx="803275" cy="655638"/>
            </a:xfrm>
            <a:custGeom>
              <a:avLst/>
              <a:gdLst>
                <a:gd name="T0" fmla="*/ 183 w 188"/>
                <a:gd name="T1" fmla="*/ 61 h 153"/>
                <a:gd name="T2" fmla="*/ 140 w 188"/>
                <a:gd name="T3" fmla="*/ 103 h 153"/>
                <a:gd name="T4" fmla="*/ 79 w 188"/>
                <a:gd name="T5" fmla="*/ 84 h 153"/>
                <a:gd name="T6" fmla="*/ 123 w 188"/>
                <a:gd name="T7" fmla="*/ 124 h 153"/>
                <a:gd name="T8" fmla="*/ 65 w 188"/>
                <a:gd name="T9" fmla="*/ 149 h 153"/>
                <a:gd name="T10" fmla="*/ 31 w 188"/>
                <a:gd name="T11" fmla="*/ 152 h 153"/>
                <a:gd name="T12" fmla="*/ 0 w 188"/>
                <a:gd name="T13" fmla="*/ 144 h 153"/>
                <a:gd name="T14" fmla="*/ 48 w 188"/>
                <a:gd name="T15" fmla="*/ 114 h 153"/>
                <a:gd name="T16" fmla="*/ 77 w 188"/>
                <a:gd name="T17" fmla="*/ 72 h 153"/>
                <a:gd name="T18" fmla="*/ 103 w 188"/>
                <a:gd name="T19" fmla="*/ 25 h 153"/>
                <a:gd name="T20" fmla="*/ 140 w 188"/>
                <a:gd name="T21" fmla="*/ 1 h 153"/>
                <a:gd name="T22" fmla="*/ 182 w 188"/>
                <a:gd name="T23" fmla="*/ 22 h 153"/>
                <a:gd name="T24" fmla="*/ 183 w 188"/>
                <a:gd name="T25" fmla="*/ 6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8" h="153">
                  <a:moveTo>
                    <a:pt x="183" y="61"/>
                  </a:moveTo>
                  <a:cubicBezTo>
                    <a:pt x="177" y="81"/>
                    <a:pt x="160" y="97"/>
                    <a:pt x="140" y="103"/>
                  </a:cubicBezTo>
                  <a:cubicBezTo>
                    <a:pt x="117" y="109"/>
                    <a:pt x="94" y="102"/>
                    <a:pt x="79" y="84"/>
                  </a:cubicBezTo>
                  <a:cubicBezTo>
                    <a:pt x="80" y="108"/>
                    <a:pt x="99" y="124"/>
                    <a:pt x="123" y="124"/>
                  </a:cubicBezTo>
                  <a:cubicBezTo>
                    <a:pt x="108" y="139"/>
                    <a:pt x="86" y="146"/>
                    <a:pt x="65" y="149"/>
                  </a:cubicBezTo>
                  <a:cubicBezTo>
                    <a:pt x="54" y="151"/>
                    <a:pt x="42" y="153"/>
                    <a:pt x="31" y="152"/>
                  </a:cubicBezTo>
                  <a:cubicBezTo>
                    <a:pt x="21" y="152"/>
                    <a:pt x="9" y="150"/>
                    <a:pt x="0" y="144"/>
                  </a:cubicBezTo>
                  <a:cubicBezTo>
                    <a:pt x="19" y="139"/>
                    <a:pt x="35" y="128"/>
                    <a:pt x="48" y="114"/>
                  </a:cubicBezTo>
                  <a:cubicBezTo>
                    <a:pt x="60" y="101"/>
                    <a:pt x="69" y="87"/>
                    <a:pt x="77" y="72"/>
                  </a:cubicBezTo>
                  <a:cubicBezTo>
                    <a:pt x="85" y="56"/>
                    <a:pt x="92" y="39"/>
                    <a:pt x="103" y="25"/>
                  </a:cubicBezTo>
                  <a:cubicBezTo>
                    <a:pt x="112" y="12"/>
                    <a:pt x="124" y="2"/>
                    <a:pt x="140" y="1"/>
                  </a:cubicBezTo>
                  <a:cubicBezTo>
                    <a:pt x="157" y="0"/>
                    <a:pt x="174" y="7"/>
                    <a:pt x="182" y="22"/>
                  </a:cubicBezTo>
                  <a:cubicBezTo>
                    <a:pt x="188" y="35"/>
                    <a:pt x="187" y="48"/>
                    <a:pt x="183" y="6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">
            <a:extLst>
              <a:ext uri="{FF2B5EF4-FFF2-40B4-BE49-F238E27FC236}">
                <a16:creationId xmlns:a16="http://schemas.microsoft.com/office/drawing/2014/main" id="{F7412FBE-22A2-10A4-80F8-94BD980CE0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" y="2708920"/>
            <a:ext cx="7968207" cy="2949857"/>
          </a:xfrm>
          <a:gradFill>
            <a:gsLst>
              <a:gs pos="100000">
                <a:schemeClr val="accent1"/>
              </a:gs>
              <a:gs pos="0">
                <a:schemeClr val="accent4"/>
              </a:gs>
            </a:gsLst>
            <a:lin ang="18900000" scaled="1"/>
          </a:gradFill>
        </p:spPr>
        <p:txBody>
          <a:bodyPr wrap="square" lIns="396000" tIns="360000" rIns="504000" bIns="1080000" anchor="ctr" anchorCtr="0">
            <a:no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B3FCD38E-1F71-EA8E-7048-F655798886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7368" y="4725144"/>
            <a:ext cx="7273330" cy="276999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text style</a:t>
            </a:r>
            <a:endParaRPr lang="en-GB"/>
          </a:p>
        </p:txBody>
      </p:sp>
      <p:grpSp>
        <p:nvGrpSpPr>
          <p:cNvPr id="4" name="Graphic 4">
            <a:extLst>
              <a:ext uri="{FF2B5EF4-FFF2-40B4-BE49-F238E27FC236}">
                <a16:creationId xmlns:a16="http://schemas.microsoft.com/office/drawing/2014/main" id="{9BD06411-FC20-5945-4915-2E89D51F12E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368" y="6000692"/>
            <a:ext cx="2988000" cy="458780"/>
            <a:chOff x="3176111" y="1257136"/>
            <a:chExt cx="5719756" cy="878207"/>
          </a:xfrm>
        </p:grpSpPr>
        <p:sp>
          <p:nvSpPr>
            <p:cNvPr id="5" name="Freeform: Shape 2">
              <a:extLst>
                <a:ext uri="{FF2B5EF4-FFF2-40B4-BE49-F238E27FC236}">
                  <a16:creationId xmlns:a16="http://schemas.microsoft.com/office/drawing/2014/main" id="{F8263865-144F-E64A-2E4A-FF2A7F7296C9}"/>
                </a:ext>
              </a:extLst>
            </p:cNvPr>
            <p:cNvSpPr/>
            <p:nvPr/>
          </p:nvSpPr>
          <p:spPr>
            <a:xfrm>
              <a:off x="8667268" y="1360960"/>
              <a:ext cx="228599" cy="485775"/>
            </a:xfrm>
            <a:custGeom>
              <a:avLst/>
              <a:gdLst>
                <a:gd name="connsiteX0" fmla="*/ 43339 w 228600"/>
                <a:gd name="connsiteY0" fmla="*/ 14764 h 485775"/>
                <a:gd name="connsiteX1" fmla="*/ 90011 w 228600"/>
                <a:gd name="connsiteY1" fmla="*/ 7144 h 485775"/>
                <a:gd name="connsiteX2" fmla="*/ 90011 w 228600"/>
                <a:gd name="connsiteY2" fmla="*/ 118586 h 485775"/>
                <a:gd name="connsiteX3" fmla="*/ 217646 w 228600"/>
                <a:gd name="connsiteY3" fmla="*/ 118586 h 485775"/>
                <a:gd name="connsiteX4" fmla="*/ 217646 w 228600"/>
                <a:gd name="connsiteY4" fmla="*/ 148114 h 485775"/>
                <a:gd name="connsiteX5" fmla="*/ 180499 w 228600"/>
                <a:gd name="connsiteY5" fmla="*/ 185261 h 485775"/>
                <a:gd name="connsiteX6" fmla="*/ 90011 w 228600"/>
                <a:gd name="connsiteY6" fmla="*/ 185261 h 485775"/>
                <a:gd name="connsiteX7" fmla="*/ 90011 w 228600"/>
                <a:gd name="connsiteY7" fmla="*/ 330994 h 485775"/>
                <a:gd name="connsiteX8" fmla="*/ 103346 w 228600"/>
                <a:gd name="connsiteY8" fmla="*/ 392906 h 485775"/>
                <a:gd name="connsiteX9" fmla="*/ 150019 w 228600"/>
                <a:gd name="connsiteY9" fmla="*/ 411004 h 485775"/>
                <a:gd name="connsiteX10" fmla="*/ 190024 w 228600"/>
                <a:gd name="connsiteY10" fmla="*/ 406241 h 485775"/>
                <a:gd name="connsiteX11" fmla="*/ 217646 w 228600"/>
                <a:gd name="connsiteY11" fmla="*/ 397669 h 485775"/>
                <a:gd name="connsiteX12" fmla="*/ 226219 w 228600"/>
                <a:gd name="connsiteY12" fmla="*/ 438626 h 485775"/>
                <a:gd name="connsiteX13" fmla="*/ 205264 w 228600"/>
                <a:gd name="connsiteY13" fmla="*/ 472916 h 485775"/>
                <a:gd name="connsiteX14" fmla="*/ 193834 w 228600"/>
                <a:gd name="connsiteY14" fmla="*/ 475774 h 485775"/>
                <a:gd name="connsiteX15" fmla="*/ 138589 w 228600"/>
                <a:gd name="connsiteY15" fmla="*/ 482441 h 485775"/>
                <a:gd name="connsiteX16" fmla="*/ 74771 w 228600"/>
                <a:gd name="connsiteY16" fmla="*/ 471964 h 485775"/>
                <a:gd name="connsiteX17" fmla="*/ 33814 w 228600"/>
                <a:gd name="connsiteY17" fmla="*/ 442436 h 485775"/>
                <a:gd name="connsiteX18" fmla="*/ 12859 w 228600"/>
                <a:gd name="connsiteY18" fmla="*/ 394811 h 485775"/>
                <a:gd name="connsiteX19" fmla="*/ 7144 w 228600"/>
                <a:gd name="connsiteY19" fmla="*/ 330994 h 485775"/>
                <a:gd name="connsiteX20" fmla="*/ 7144 w 228600"/>
                <a:gd name="connsiteY20" fmla="*/ 56674 h 485775"/>
                <a:gd name="connsiteX21" fmla="*/ 43339 w 228600"/>
                <a:gd name="connsiteY21" fmla="*/ 14764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28600" h="485775">
                  <a:moveTo>
                    <a:pt x="43339" y="14764"/>
                  </a:moveTo>
                  <a:lnTo>
                    <a:pt x="90011" y="7144"/>
                  </a:lnTo>
                  <a:lnTo>
                    <a:pt x="90011" y="118586"/>
                  </a:lnTo>
                  <a:lnTo>
                    <a:pt x="217646" y="118586"/>
                  </a:lnTo>
                  <a:lnTo>
                    <a:pt x="217646" y="148114"/>
                  </a:lnTo>
                  <a:cubicBezTo>
                    <a:pt x="217646" y="168116"/>
                    <a:pt x="201453" y="185261"/>
                    <a:pt x="180499" y="185261"/>
                  </a:cubicBezTo>
                  <a:lnTo>
                    <a:pt x="90011" y="185261"/>
                  </a:lnTo>
                  <a:lnTo>
                    <a:pt x="90011" y="330994"/>
                  </a:lnTo>
                  <a:cubicBezTo>
                    <a:pt x="90011" y="359569"/>
                    <a:pt x="94774" y="380524"/>
                    <a:pt x="103346" y="392906"/>
                  </a:cubicBezTo>
                  <a:cubicBezTo>
                    <a:pt x="112871" y="405289"/>
                    <a:pt x="128111" y="411004"/>
                    <a:pt x="150019" y="411004"/>
                  </a:cubicBezTo>
                  <a:cubicBezTo>
                    <a:pt x="165259" y="411004"/>
                    <a:pt x="178594" y="409099"/>
                    <a:pt x="190024" y="406241"/>
                  </a:cubicBezTo>
                  <a:cubicBezTo>
                    <a:pt x="201453" y="403384"/>
                    <a:pt x="210978" y="400526"/>
                    <a:pt x="217646" y="397669"/>
                  </a:cubicBezTo>
                  <a:lnTo>
                    <a:pt x="226219" y="438626"/>
                  </a:lnTo>
                  <a:cubicBezTo>
                    <a:pt x="229076" y="453866"/>
                    <a:pt x="220503" y="469106"/>
                    <a:pt x="205264" y="472916"/>
                  </a:cubicBezTo>
                  <a:lnTo>
                    <a:pt x="193834" y="475774"/>
                  </a:lnTo>
                  <a:cubicBezTo>
                    <a:pt x="178594" y="480536"/>
                    <a:pt x="159544" y="482441"/>
                    <a:pt x="138589" y="482441"/>
                  </a:cubicBezTo>
                  <a:cubicBezTo>
                    <a:pt x="112871" y="482441"/>
                    <a:pt x="91916" y="478631"/>
                    <a:pt x="74771" y="471964"/>
                  </a:cubicBezTo>
                  <a:cubicBezTo>
                    <a:pt x="57626" y="465296"/>
                    <a:pt x="44291" y="454819"/>
                    <a:pt x="33814" y="442436"/>
                  </a:cubicBezTo>
                  <a:cubicBezTo>
                    <a:pt x="23336" y="429101"/>
                    <a:pt x="16669" y="413861"/>
                    <a:pt x="12859" y="394811"/>
                  </a:cubicBezTo>
                  <a:cubicBezTo>
                    <a:pt x="9049" y="376714"/>
                    <a:pt x="7144" y="354806"/>
                    <a:pt x="7144" y="330994"/>
                  </a:cubicBezTo>
                  <a:lnTo>
                    <a:pt x="7144" y="56674"/>
                  </a:lnTo>
                  <a:cubicBezTo>
                    <a:pt x="7144" y="36671"/>
                    <a:pt x="22384" y="18574"/>
                    <a:pt x="43339" y="14764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7" name="Freeform: Shape 3">
              <a:extLst>
                <a:ext uri="{FF2B5EF4-FFF2-40B4-BE49-F238E27FC236}">
                  <a16:creationId xmlns:a16="http://schemas.microsoft.com/office/drawing/2014/main" id="{DEC92B1E-CA55-908E-4E2A-98DD9F3B1E5E}"/>
                </a:ext>
              </a:extLst>
            </p:cNvPr>
            <p:cNvSpPr/>
            <p:nvPr/>
          </p:nvSpPr>
          <p:spPr>
            <a:xfrm>
              <a:off x="7972896" y="1460972"/>
              <a:ext cx="333375" cy="381000"/>
            </a:xfrm>
            <a:custGeom>
              <a:avLst/>
              <a:gdLst>
                <a:gd name="connsiteX0" fmla="*/ 7144 w 333375"/>
                <a:gd name="connsiteY0" fmla="*/ 196691 h 381000"/>
                <a:gd name="connsiteX1" fmla="*/ 21431 w 333375"/>
                <a:gd name="connsiteY1" fmla="*/ 113824 h 381000"/>
                <a:gd name="connsiteX2" fmla="*/ 58579 w 333375"/>
                <a:gd name="connsiteY2" fmla="*/ 54769 h 381000"/>
                <a:gd name="connsiteX3" fmla="*/ 111919 w 333375"/>
                <a:gd name="connsiteY3" fmla="*/ 19526 h 381000"/>
                <a:gd name="connsiteX4" fmla="*/ 173831 w 333375"/>
                <a:gd name="connsiteY4" fmla="*/ 7144 h 381000"/>
                <a:gd name="connsiteX5" fmla="*/ 289084 w 333375"/>
                <a:gd name="connsiteY5" fmla="*/ 52864 h 381000"/>
                <a:gd name="connsiteX6" fmla="*/ 330041 w 333375"/>
                <a:gd name="connsiteY6" fmla="*/ 189071 h 381000"/>
                <a:gd name="connsiteX7" fmla="*/ 330041 w 333375"/>
                <a:gd name="connsiteY7" fmla="*/ 204311 h 381000"/>
                <a:gd name="connsiteX8" fmla="*/ 329089 w 333375"/>
                <a:gd name="connsiteY8" fmla="*/ 219551 h 381000"/>
                <a:gd name="connsiteX9" fmla="*/ 93822 w 333375"/>
                <a:gd name="connsiteY9" fmla="*/ 219551 h 381000"/>
                <a:gd name="connsiteX10" fmla="*/ 124301 w 333375"/>
                <a:gd name="connsiteY10" fmla="*/ 286226 h 381000"/>
                <a:gd name="connsiteX11" fmla="*/ 202406 w 333375"/>
                <a:gd name="connsiteY11" fmla="*/ 310039 h 381000"/>
                <a:gd name="connsiteX12" fmla="*/ 257651 w 333375"/>
                <a:gd name="connsiteY12" fmla="*/ 304324 h 381000"/>
                <a:gd name="connsiteX13" fmla="*/ 269081 w 333375"/>
                <a:gd name="connsiteY13" fmla="*/ 301466 h 381000"/>
                <a:gd name="connsiteX14" fmla="*/ 301466 w 333375"/>
                <a:gd name="connsiteY14" fmla="*/ 323374 h 381000"/>
                <a:gd name="connsiteX15" fmla="*/ 307181 w 333375"/>
                <a:gd name="connsiteY15" fmla="*/ 360521 h 381000"/>
                <a:gd name="connsiteX16" fmla="*/ 288131 w 333375"/>
                <a:gd name="connsiteY16" fmla="*/ 368141 h 381000"/>
                <a:gd name="connsiteX17" fmla="*/ 260509 w 333375"/>
                <a:gd name="connsiteY17" fmla="*/ 374809 h 381000"/>
                <a:gd name="connsiteX18" fmla="*/ 227172 w 333375"/>
                <a:gd name="connsiteY18" fmla="*/ 379571 h 381000"/>
                <a:gd name="connsiteX19" fmla="*/ 190976 w 333375"/>
                <a:gd name="connsiteY19" fmla="*/ 381476 h 381000"/>
                <a:gd name="connsiteX20" fmla="*/ 109061 w 333375"/>
                <a:gd name="connsiteY20" fmla="*/ 367189 h 381000"/>
                <a:gd name="connsiteX21" fmla="*/ 51911 w 333375"/>
                <a:gd name="connsiteY21" fmla="*/ 328136 h 381000"/>
                <a:gd name="connsiteX22" fmla="*/ 18574 w 333375"/>
                <a:gd name="connsiteY22" fmla="*/ 269081 h 381000"/>
                <a:gd name="connsiteX23" fmla="*/ 7144 w 333375"/>
                <a:gd name="connsiteY23" fmla="*/ 196691 h 381000"/>
                <a:gd name="connsiteX24" fmla="*/ 246222 w 333375"/>
                <a:gd name="connsiteY24" fmla="*/ 159544 h 381000"/>
                <a:gd name="connsiteX25" fmla="*/ 241459 w 333375"/>
                <a:gd name="connsiteY25" fmla="*/ 127159 h 381000"/>
                <a:gd name="connsiteX26" fmla="*/ 227172 w 333375"/>
                <a:gd name="connsiteY26" fmla="*/ 100489 h 381000"/>
                <a:gd name="connsiteX27" fmla="*/ 204311 w 333375"/>
                <a:gd name="connsiteY27" fmla="*/ 82391 h 381000"/>
                <a:gd name="connsiteX28" fmla="*/ 172879 w 333375"/>
                <a:gd name="connsiteY28" fmla="*/ 75724 h 381000"/>
                <a:gd name="connsiteX29" fmla="*/ 139541 w 333375"/>
                <a:gd name="connsiteY29" fmla="*/ 83344 h 381000"/>
                <a:gd name="connsiteX30" fmla="*/ 115729 w 333375"/>
                <a:gd name="connsiteY30" fmla="*/ 102394 h 381000"/>
                <a:gd name="connsiteX31" fmla="*/ 100489 w 333375"/>
                <a:gd name="connsiteY31" fmla="*/ 129064 h 381000"/>
                <a:gd name="connsiteX32" fmla="*/ 92869 w 333375"/>
                <a:gd name="connsiteY32" fmla="*/ 159544 h 381000"/>
                <a:gd name="connsiteX33" fmla="*/ 246222 w 333375"/>
                <a:gd name="connsiteY33" fmla="*/ 159544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33375" h="381000">
                  <a:moveTo>
                    <a:pt x="7144" y="196691"/>
                  </a:moveTo>
                  <a:cubicBezTo>
                    <a:pt x="7144" y="165259"/>
                    <a:pt x="11906" y="137636"/>
                    <a:pt x="21431" y="113824"/>
                  </a:cubicBezTo>
                  <a:cubicBezTo>
                    <a:pt x="30956" y="90011"/>
                    <a:pt x="43339" y="70009"/>
                    <a:pt x="58579" y="54769"/>
                  </a:cubicBezTo>
                  <a:cubicBezTo>
                    <a:pt x="73819" y="38576"/>
                    <a:pt x="91916" y="27146"/>
                    <a:pt x="111919" y="19526"/>
                  </a:cubicBezTo>
                  <a:cubicBezTo>
                    <a:pt x="131922" y="11906"/>
                    <a:pt x="152876" y="7144"/>
                    <a:pt x="173831" y="7144"/>
                  </a:cubicBezTo>
                  <a:cubicBezTo>
                    <a:pt x="223361" y="7144"/>
                    <a:pt x="261461" y="22384"/>
                    <a:pt x="289084" y="52864"/>
                  </a:cubicBezTo>
                  <a:cubicBezTo>
                    <a:pt x="316706" y="83344"/>
                    <a:pt x="330041" y="129064"/>
                    <a:pt x="330041" y="189071"/>
                  </a:cubicBezTo>
                  <a:cubicBezTo>
                    <a:pt x="330041" y="193834"/>
                    <a:pt x="330041" y="198596"/>
                    <a:pt x="330041" y="204311"/>
                  </a:cubicBezTo>
                  <a:cubicBezTo>
                    <a:pt x="330041" y="210026"/>
                    <a:pt x="329089" y="214789"/>
                    <a:pt x="329089" y="219551"/>
                  </a:cubicBezTo>
                  <a:lnTo>
                    <a:pt x="93822" y="219551"/>
                  </a:lnTo>
                  <a:cubicBezTo>
                    <a:pt x="95726" y="248126"/>
                    <a:pt x="106204" y="270034"/>
                    <a:pt x="124301" y="286226"/>
                  </a:cubicBezTo>
                  <a:cubicBezTo>
                    <a:pt x="142399" y="301466"/>
                    <a:pt x="168116" y="310039"/>
                    <a:pt x="202406" y="310039"/>
                  </a:cubicBezTo>
                  <a:cubicBezTo>
                    <a:pt x="222409" y="310039"/>
                    <a:pt x="240506" y="308134"/>
                    <a:pt x="257651" y="304324"/>
                  </a:cubicBezTo>
                  <a:cubicBezTo>
                    <a:pt x="261461" y="303371"/>
                    <a:pt x="266224" y="302419"/>
                    <a:pt x="269081" y="301466"/>
                  </a:cubicBezTo>
                  <a:cubicBezTo>
                    <a:pt x="284322" y="297656"/>
                    <a:pt x="298609" y="308134"/>
                    <a:pt x="301466" y="323374"/>
                  </a:cubicBezTo>
                  <a:lnTo>
                    <a:pt x="307181" y="360521"/>
                  </a:lnTo>
                  <a:cubicBezTo>
                    <a:pt x="302419" y="362426"/>
                    <a:pt x="296704" y="365284"/>
                    <a:pt x="288131" y="368141"/>
                  </a:cubicBezTo>
                  <a:cubicBezTo>
                    <a:pt x="280511" y="370999"/>
                    <a:pt x="270986" y="372904"/>
                    <a:pt x="260509" y="374809"/>
                  </a:cubicBezTo>
                  <a:cubicBezTo>
                    <a:pt x="250031" y="376714"/>
                    <a:pt x="239554" y="378619"/>
                    <a:pt x="227172" y="379571"/>
                  </a:cubicBezTo>
                  <a:cubicBezTo>
                    <a:pt x="214789" y="380524"/>
                    <a:pt x="203359" y="381476"/>
                    <a:pt x="190976" y="381476"/>
                  </a:cubicBezTo>
                  <a:cubicBezTo>
                    <a:pt x="159544" y="381476"/>
                    <a:pt x="131922" y="376714"/>
                    <a:pt x="109061" y="367189"/>
                  </a:cubicBezTo>
                  <a:cubicBezTo>
                    <a:pt x="86201" y="357664"/>
                    <a:pt x="67151" y="345281"/>
                    <a:pt x="51911" y="328136"/>
                  </a:cubicBezTo>
                  <a:cubicBezTo>
                    <a:pt x="36672" y="311944"/>
                    <a:pt x="26194" y="291941"/>
                    <a:pt x="18574" y="269081"/>
                  </a:cubicBezTo>
                  <a:cubicBezTo>
                    <a:pt x="10954" y="248126"/>
                    <a:pt x="7144" y="223361"/>
                    <a:pt x="7144" y="196691"/>
                  </a:cubicBezTo>
                  <a:close/>
                  <a:moveTo>
                    <a:pt x="246222" y="159544"/>
                  </a:moveTo>
                  <a:cubicBezTo>
                    <a:pt x="246222" y="148114"/>
                    <a:pt x="244316" y="137636"/>
                    <a:pt x="241459" y="127159"/>
                  </a:cubicBezTo>
                  <a:cubicBezTo>
                    <a:pt x="238601" y="116681"/>
                    <a:pt x="233839" y="108109"/>
                    <a:pt x="227172" y="100489"/>
                  </a:cubicBezTo>
                  <a:cubicBezTo>
                    <a:pt x="221456" y="92869"/>
                    <a:pt x="213836" y="87154"/>
                    <a:pt x="204311" y="82391"/>
                  </a:cubicBezTo>
                  <a:cubicBezTo>
                    <a:pt x="195739" y="77629"/>
                    <a:pt x="185261" y="75724"/>
                    <a:pt x="172879" y="75724"/>
                  </a:cubicBezTo>
                  <a:cubicBezTo>
                    <a:pt x="160497" y="75724"/>
                    <a:pt x="149066" y="78581"/>
                    <a:pt x="139541" y="83344"/>
                  </a:cubicBezTo>
                  <a:cubicBezTo>
                    <a:pt x="130016" y="88106"/>
                    <a:pt x="121444" y="94774"/>
                    <a:pt x="115729" y="102394"/>
                  </a:cubicBezTo>
                  <a:cubicBezTo>
                    <a:pt x="110014" y="110014"/>
                    <a:pt x="104299" y="118586"/>
                    <a:pt x="100489" y="129064"/>
                  </a:cubicBezTo>
                  <a:cubicBezTo>
                    <a:pt x="96679" y="139541"/>
                    <a:pt x="94774" y="149066"/>
                    <a:pt x="92869" y="159544"/>
                  </a:cubicBezTo>
                  <a:lnTo>
                    <a:pt x="246222" y="159544"/>
                  </a:ln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8" name="Freeform: Shape 4">
              <a:extLst>
                <a:ext uri="{FF2B5EF4-FFF2-40B4-BE49-F238E27FC236}">
                  <a16:creationId xmlns:a16="http://schemas.microsoft.com/office/drawing/2014/main" id="{88B719D7-3AE9-DCF1-0B1A-007C4551276D}"/>
                </a:ext>
              </a:extLst>
            </p:cNvPr>
            <p:cNvSpPr/>
            <p:nvPr/>
          </p:nvSpPr>
          <p:spPr>
            <a:xfrm>
              <a:off x="7182323" y="1317145"/>
              <a:ext cx="114301" cy="114301"/>
            </a:xfrm>
            <a:custGeom>
              <a:avLst/>
              <a:gdLst>
                <a:gd name="connsiteX0" fmla="*/ 109061 w 114300"/>
                <a:gd name="connsiteY0" fmla="*/ 58579 h 114300"/>
                <a:gd name="connsiteX1" fmla="*/ 93821 w 114300"/>
                <a:gd name="connsiteY1" fmla="*/ 95726 h 114300"/>
                <a:gd name="connsiteX2" fmla="*/ 58579 w 114300"/>
                <a:gd name="connsiteY2" fmla="*/ 109061 h 114300"/>
                <a:gd name="connsiteX3" fmla="*/ 22384 w 114300"/>
                <a:gd name="connsiteY3" fmla="*/ 95726 h 114300"/>
                <a:gd name="connsiteX4" fmla="*/ 7144 w 114300"/>
                <a:gd name="connsiteY4" fmla="*/ 58579 h 114300"/>
                <a:gd name="connsiteX5" fmla="*/ 22384 w 114300"/>
                <a:gd name="connsiteY5" fmla="*/ 20479 h 114300"/>
                <a:gd name="connsiteX6" fmla="*/ 58579 w 114300"/>
                <a:gd name="connsiteY6" fmla="*/ 7144 h 114300"/>
                <a:gd name="connsiteX7" fmla="*/ 93821 w 114300"/>
                <a:gd name="connsiteY7" fmla="*/ 20479 h 114300"/>
                <a:gd name="connsiteX8" fmla="*/ 109061 w 114300"/>
                <a:gd name="connsiteY8" fmla="*/ 58579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9061" y="58579"/>
                  </a:moveTo>
                  <a:cubicBezTo>
                    <a:pt x="109061" y="73819"/>
                    <a:pt x="104299" y="86201"/>
                    <a:pt x="93821" y="95726"/>
                  </a:cubicBezTo>
                  <a:cubicBezTo>
                    <a:pt x="83344" y="105251"/>
                    <a:pt x="71914" y="109061"/>
                    <a:pt x="58579" y="109061"/>
                  </a:cubicBezTo>
                  <a:cubicBezTo>
                    <a:pt x="44291" y="109061"/>
                    <a:pt x="31909" y="104299"/>
                    <a:pt x="22384" y="95726"/>
                  </a:cubicBezTo>
                  <a:cubicBezTo>
                    <a:pt x="11906" y="86201"/>
                    <a:pt x="7144" y="73819"/>
                    <a:pt x="7144" y="58579"/>
                  </a:cubicBezTo>
                  <a:cubicBezTo>
                    <a:pt x="7144" y="42386"/>
                    <a:pt x="11906" y="30004"/>
                    <a:pt x="22384" y="20479"/>
                  </a:cubicBezTo>
                  <a:cubicBezTo>
                    <a:pt x="32861" y="10954"/>
                    <a:pt x="44291" y="7144"/>
                    <a:pt x="58579" y="7144"/>
                  </a:cubicBezTo>
                  <a:cubicBezTo>
                    <a:pt x="71914" y="7144"/>
                    <a:pt x="84296" y="11906"/>
                    <a:pt x="93821" y="20479"/>
                  </a:cubicBezTo>
                  <a:cubicBezTo>
                    <a:pt x="104299" y="30004"/>
                    <a:pt x="109061" y="43339"/>
                    <a:pt x="109061" y="5857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9" name="Freeform: Shape 5">
              <a:extLst>
                <a:ext uri="{FF2B5EF4-FFF2-40B4-BE49-F238E27FC236}">
                  <a16:creationId xmlns:a16="http://schemas.microsoft.com/office/drawing/2014/main" id="{DDF63211-74E8-4DCD-02D4-6F5406D92834}"/>
                </a:ext>
              </a:extLst>
            </p:cNvPr>
            <p:cNvSpPr/>
            <p:nvPr/>
          </p:nvSpPr>
          <p:spPr>
            <a:xfrm>
              <a:off x="7192800" y="1473355"/>
              <a:ext cx="95250" cy="371475"/>
            </a:xfrm>
            <a:custGeom>
              <a:avLst/>
              <a:gdLst>
                <a:gd name="connsiteX0" fmla="*/ 90011 w 95250"/>
                <a:gd name="connsiteY0" fmla="*/ 366236 h 371475"/>
                <a:gd name="connsiteX1" fmla="*/ 67151 w 95250"/>
                <a:gd name="connsiteY1" fmla="*/ 366236 h 371475"/>
                <a:gd name="connsiteX2" fmla="*/ 7144 w 95250"/>
                <a:gd name="connsiteY2" fmla="*/ 306229 h 371475"/>
                <a:gd name="connsiteX3" fmla="*/ 7144 w 95250"/>
                <a:gd name="connsiteY3" fmla="*/ 7144 h 371475"/>
                <a:gd name="connsiteX4" fmla="*/ 35719 w 95250"/>
                <a:gd name="connsiteY4" fmla="*/ 7144 h 371475"/>
                <a:gd name="connsiteX5" fmla="*/ 90011 w 95250"/>
                <a:gd name="connsiteY5" fmla="*/ 62389 h 371475"/>
                <a:gd name="connsiteX6" fmla="*/ 90011 w 95250"/>
                <a:gd name="connsiteY6" fmla="*/ 366236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250" h="371475">
                  <a:moveTo>
                    <a:pt x="90011" y="366236"/>
                  </a:moveTo>
                  <a:lnTo>
                    <a:pt x="67151" y="366236"/>
                  </a:lnTo>
                  <a:cubicBezTo>
                    <a:pt x="33814" y="366236"/>
                    <a:pt x="7144" y="339566"/>
                    <a:pt x="7144" y="306229"/>
                  </a:cubicBezTo>
                  <a:lnTo>
                    <a:pt x="7144" y="7144"/>
                  </a:lnTo>
                  <a:lnTo>
                    <a:pt x="35719" y="7144"/>
                  </a:lnTo>
                  <a:cubicBezTo>
                    <a:pt x="66199" y="7144"/>
                    <a:pt x="90011" y="31909"/>
                    <a:pt x="90011" y="62389"/>
                  </a:cubicBezTo>
                  <a:lnTo>
                    <a:pt x="90011" y="366236"/>
                  </a:ln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0" name="Freeform: Shape 6">
              <a:extLst>
                <a:ext uri="{FF2B5EF4-FFF2-40B4-BE49-F238E27FC236}">
                  <a16:creationId xmlns:a16="http://schemas.microsoft.com/office/drawing/2014/main" id="{E92B9202-4F2E-9F56-E44E-E6E4F26FACFD}"/>
                </a:ext>
              </a:extLst>
            </p:cNvPr>
            <p:cNvSpPr/>
            <p:nvPr/>
          </p:nvSpPr>
          <p:spPr>
            <a:xfrm>
              <a:off x="7637617" y="1474308"/>
              <a:ext cx="352426" cy="371475"/>
            </a:xfrm>
            <a:custGeom>
              <a:avLst/>
              <a:gdLst>
                <a:gd name="connsiteX0" fmla="*/ 287179 w 352425"/>
                <a:gd name="connsiteY0" fmla="*/ 7144 h 371475"/>
                <a:gd name="connsiteX1" fmla="*/ 250031 w 352425"/>
                <a:gd name="connsiteY1" fmla="*/ 43339 h 371475"/>
                <a:gd name="connsiteX2" fmla="*/ 179547 w 352425"/>
                <a:gd name="connsiteY2" fmla="*/ 246221 h 371475"/>
                <a:gd name="connsiteX3" fmla="*/ 106204 w 352425"/>
                <a:gd name="connsiteY3" fmla="*/ 47149 h 371475"/>
                <a:gd name="connsiteX4" fmla="*/ 68104 w 352425"/>
                <a:gd name="connsiteY4" fmla="*/ 7144 h 371475"/>
                <a:gd name="connsiteX5" fmla="*/ 27147 w 352425"/>
                <a:gd name="connsiteY5" fmla="*/ 7144 h 371475"/>
                <a:gd name="connsiteX6" fmla="*/ 7144 w 352425"/>
                <a:gd name="connsiteY6" fmla="*/ 7144 h 371475"/>
                <a:gd name="connsiteX7" fmla="*/ 130969 w 352425"/>
                <a:gd name="connsiteY7" fmla="*/ 329089 h 371475"/>
                <a:gd name="connsiteX8" fmla="*/ 171927 w 352425"/>
                <a:gd name="connsiteY8" fmla="*/ 365284 h 371475"/>
                <a:gd name="connsiteX9" fmla="*/ 213836 w 352425"/>
                <a:gd name="connsiteY9" fmla="*/ 365284 h 371475"/>
                <a:gd name="connsiteX10" fmla="*/ 350044 w 352425"/>
                <a:gd name="connsiteY10" fmla="*/ 7144 h 371475"/>
                <a:gd name="connsiteX11" fmla="*/ 287179 w 352425"/>
                <a:gd name="connsiteY11" fmla="*/ 7144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52425" h="371475">
                  <a:moveTo>
                    <a:pt x="287179" y="7144"/>
                  </a:moveTo>
                  <a:cubicBezTo>
                    <a:pt x="265272" y="7144"/>
                    <a:pt x="259556" y="18574"/>
                    <a:pt x="250031" y="43339"/>
                  </a:cubicBezTo>
                  <a:lnTo>
                    <a:pt x="179547" y="246221"/>
                  </a:lnTo>
                  <a:lnTo>
                    <a:pt x="106204" y="47149"/>
                  </a:lnTo>
                  <a:cubicBezTo>
                    <a:pt x="97631" y="21431"/>
                    <a:pt x="90011" y="7144"/>
                    <a:pt x="68104" y="7144"/>
                  </a:cubicBezTo>
                  <a:lnTo>
                    <a:pt x="27147" y="7144"/>
                  </a:lnTo>
                  <a:lnTo>
                    <a:pt x="7144" y="7144"/>
                  </a:lnTo>
                  <a:lnTo>
                    <a:pt x="130969" y="329089"/>
                  </a:lnTo>
                  <a:cubicBezTo>
                    <a:pt x="142399" y="352901"/>
                    <a:pt x="150019" y="365284"/>
                    <a:pt x="171927" y="365284"/>
                  </a:cubicBezTo>
                  <a:lnTo>
                    <a:pt x="213836" y="365284"/>
                  </a:lnTo>
                  <a:lnTo>
                    <a:pt x="350044" y="7144"/>
                  </a:lnTo>
                  <a:lnTo>
                    <a:pt x="287179" y="7144"/>
                  </a:ln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1" name="Freeform: Shape 7">
              <a:extLst>
                <a:ext uri="{FF2B5EF4-FFF2-40B4-BE49-F238E27FC236}">
                  <a16:creationId xmlns:a16="http://schemas.microsoft.com/office/drawing/2014/main" id="{949ABE15-0C50-0A54-06AF-02269F396C26}"/>
                </a:ext>
              </a:extLst>
            </p:cNvPr>
            <p:cNvSpPr/>
            <p:nvPr/>
          </p:nvSpPr>
          <p:spPr>
            <a:xfrm>
              <a:off x="7326150" y="1464782"/>
              <a:ext cx="314325" cy="381000"/>
            </a:xfrm>
            <a:custGeom>
              <a:avLst/>
              <a:gdLst>
                <a:gd name="connsiteX0" fmla="*/ 300514 w 314325"/>
                <a:gd name="connsiteY0" fmla="*/ 105251 h 381000"/>
                <a:gd name="connsiteX1" fmla="*/ 275749 w 314325"/>
                <a:gd name="connsiteY1" fmla="*/ 52864 h 381000"/>
                <a:gd name="connsiteX2" fmla="*/ 229076 w 314325"/>
                <a:gd name="connsiteY2" fmla="*/ 19526 h 381000"/>
                <a:gd name="connsiteX3" fmla="*/ 155734 w 314325"/>
                <a:gd name="connsiteY3" fmla="*/ 7144 h 381000"/>
                <a:gd name="connsiteX4" fmla="*/ 70009 w 314325"/>
                <a:gd name="connsiteY4" fmla="*/ 13811 h 381000"/>
                <a:gd name="connsiteX5" fmla="*/ 7144 w 314325"/>
                <a:gd name="connsiteY5" fmla="*/ 27146 h 381000"/>
                <a:gd name="connsiteX6" fmla="*/ 7144 w 314325"/>
                <a:gd name="connsiteY6" fmla="*/ 329089 h 381000"/>
                <a:gd name="connsiteX7" fmla="*/ 7144 w 314325"/>
                <a:gd name="connsiteY7" fmla="*/ 329089 h 381000"/>
                <a:gd name="connsiteX8" fmla="*/ 7144 w 314325"/>
                <a:gd name="connsiteY8" fmla="*/ 338614 h 381000"/>
                <a:gd name="connsiteX9" fmla="*/ 44291 w 314325"/>
                <a:gd name="connsiteY9" fmla="*/ 375761 h 381000"/>
                <a:gd name="connsiteX10" fmla="*/ 45244 w 314325"/>
                <a:gd name="connsiteY10" fmla="*/ 375761 h 381000"/>
                <a:gd name="connsiteX11" fmla="*/ 45244 w 314325"/>
                <a:gd name="connsiteY11" fmla="*/ 375761 h 381000"/>
                <a:gd name="connsiteX12" fmla="*/ 90964 w 314325"/>
                <a:gd name="connsiteY12" fmla="*/ 375761 h 381000"/>
                <a:gd name="connsiteX13" fmla="*/ 90964 w 314325"/>
                <a:gd name="connsiteY13" fmla="*/ 84296 h 381000"/>
                <a:gd name="connsiteX14" fmla="*/ 116682 w 314325"/>
                <a:gd name="connsiteY14" fmla="*/ 80486 h 381000"/>
                <a:gd name="connsiteX15" fmla="*/ 150019 w 314325"/>
                <a:gd name="connsiteY15" fmla="*/ 78581 h 381000"/>
                <a:gd name="connsiteX16" fmla="*/ 186214 w 314325"/>
                <a:gd name="connsiteY16" fmla="*/ 84296 h 381000"/>
                <a:gd name="connsiteX17" fmla="*/ 210026 w 314325"/>
                <a:gd name="connsiteY17" fmla="*/ 102394 h 381000"/>
                <a:gd name="connsiteX18" fmla="*/ 222409 w 314325"/>
                <a:gd name="connsiteY18" fmla="*/ 135731 h 381000"/>
                <a:gd name="connsiteX19" fmla="*/ 226219 w 314325"/>
                <a:gd name="connsiteY19" fmla="*/ 185261 h 381000"/>
                <a:gd name="connsiteX20" fmla="*/ 226219 w 314325"/>
                <a:gd name="connsiteY20" fmla="*/ 328136 h 381000"/>
                <a:gd name="connsiteX21" fmla="*/ 226219 w 314325"/>
                <a:gd name="connsiteY21" fmla="*/ 328136 h 381000"/>
                <a:gd name="connsiteX22" fmla="*/ 226219 w 314325"/>
                <a:gd name="connsiteY22" fmla="*/ 337661 h 381000"/>
                <a:gd name="connsiteX23" fmla="*/ 263366 w 314325"/>
                <a:gd name="connsiteY23" fmla="*/ 374809 h 381000"/>
                <a:gd name="connsiteX24" fmla="*/ 263366 w 314325"/>
                <a:gd name="connsiteY24" fmla="*/ 374809 h 381000"/>
                <a:gd name="connsiteX25" fmla="*/ 310039 w 314325"/>
                <a:gd name="connsiteY25" fmla="*/ 374809 h 381000"/>
                <a:gd name="connsiteX26" fmla="*/ 310039 w 314325"/>
                <a:gd name="connsiteY26" fmla="*/ 172879 h 381000"/>
                <a:gd name="connsiteX27" fmla="*/ 300514 w 314325"/>
                <a:gd name="connsiteY27" fmla="*/ 105251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14325" h="381000">
                  <a:moveTo>
                    <a:pt x="300514" y="105251"/>
                  </a:moveTo>
                  <a:cubicBezTo>
                    <a:pt x="295751" y="85249"/>
                    <a:pt x="287179" y="67151"/>
                    <a:pt x="275749" y="52864"/>
                  </a:cubicBezTo>
                  <a:cubicBezTo>
                    <a:pt x="264319" y="38576"/>
                    <a:pt x="248126" y="27146"/>
                    <a:pt x="229076" y="19526"/>
                  </a:cubicBezTo>
                  <a:cubicBezTo>
                    <a:pt x="209074" y="11906"/>
                    <a:pt x="185261" y="7144"/>
                    <a:pt x="155734" y="7144"/>
                  </a:cubicBezTo>
                  <a:cubicBezTo>
                    <a:pt x="124301" y="7144"/>
                    <a:pt x="95726" y="9049"/>
                    <a:pt x="70009" y="13811"/>
                  </a:cubicBezTo>
                  <a:cubicBezTo>
                    <a:pt x="44291" y="17621"/>
                    <a:pt x="23336" y="22384"/>
                    <a:pt x="7144" y="27146"/>
                  </a:cubicBezTo>
                  <a:lnTo>
                    <a:pt x="7144" y="329089"/>
                  </a:lnTo>
                  <a:lnTo>
                    <a:pt x="7144" y="329089"/>
                  </a:lnTo>
                  <a:lnTo>
                    <a:pt x="7144" y="338614"/>
                  </a:lnTo>
                  <a:cubicBezTo>
                    <a:pt x="7144" y="358616"/>
                    <a:pt x="23336" y="375761"/>
                    <a:pt x="44291" y="375761"/>
                  </a:cubicBezTo>
                  <a:lnTo>
                    <a:pt x="45244" y="375761"/>
                  </a:lnTo>
                  <a:lnTo>
                    <a:pt x="45244" y="375761"/>
                  </a:lnTo>
                  <a:lnTo>
                    <a:pt x="90964" y="375761"/>
                  </a:lnTo>
                  <a:lnTo>
                    <a:pt x="90964" y="84296"/>
                  </a:lnTo>
                  <a:cubicBezTo>
                    <a:pt x="96679" y="83344"/>
                    <a:pt x="105251" y="82391"/>
                    <a:pt x="116682" y="80486"/>
                  </a:cubicBezTo>
                  <a:cubicBezTo>
                    <a:pt x="128111" y="79534"/>
                    <a:pt x="139541" y="78581"/>
                    <a:pt x="150019" y="78581"/>
                  </a:cubicBezTo>
                  <a:cubicBezTo>
                    <a:pt x="164307" y="78581"/>
                    <a:pt x="176689" y="80486"/>
                    <a:pt x="186214" y="84296"/>
                  </a:cubicBezTo>
                  <a:cubicBezTo>
                    <a:pt x="195739" y="88106"/>
                    <a:pt x="204311" y="94774"/>
                    <a:pt x="210026" y="102394"/>
                  </a:cubicBezTo>
                  <a:cubicBezTo>
                    <a:pt x="215741" y="110966"/>
                    <a:pt x="219551" y="121444"/>
                    <a:pt x="222409" y="135731"/>
                  </a:cubicBezTo>
                  <a:cubicBezTo>
                    <a:pt x="225266" y="149066"/>
                    <a:pt x="226219" y="165259"/>
                    <a:pt x="226219" y="185261"/>
                  </a:cubicBezTo>
                  <a:lnTo>
                    <a:pt x="226219" y="328136"/>
                  </a:lnTo>
                  <a:lnTo>
                    <a:pt x="226219" y="328136"/>
                  </a:lnTo>
                  <a:lnTo>
                    <a:pt x="226219" y="337661"/>
                  </a:lnTo>
                  <a:cubicBezTo>
                    <a:pt x="226219" y="357664"/>
                    <a:pt x="242411" y="374809"/>
                    <a:pt x="263366" y="374809"/>
                  </a:cubicBezTo>
                  <a:lnTo>
                    <a:pt x="263366" y="374809"/>
                  </a:lnTo>
                  <a:lnTo>
                    <a:pt x="310039" y="374809"/>
                  </a:lnTo>
                  <a:lnTo>
                    <a:pt x="310039" y="172879"/>
                  </a:lnTo>
                  <a:cubicBezTo>
                    <a:pt x="308134" y="148114"/>
                    <a:pt x="305276" y="126206"/>
                    <a:pt x="300514" y="1052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5" name="Freeform: Shape 8">
              <a:extLst>
                <a:ext uri="{FF2B5EF4-FFF2-40B4-BE49-F238E27FC236}">
                  <a16:creationId xmlns:a16="http://schemas.microsoft.com/office/drawing/2014/main" id="{8DFBB282-FCF9-78B1-87A7-5331B1B966AC}"/>
                </a:ext>
              </a:extLst>
            </p:cNvPr>
            <p:cNvSpPr/>
            <p:nvPr/>
          </p:nvSpPr>
          <p:spPr>
            <a:xfrm>
              <a:off x="8331989" y="1464782"/>
              <a:ext cx="314325" cy="381000"/>
            </a:xfrm>
            <a:custGeom>
              <a:avLst/>
              <a:gdLst>
                <a:gd name="connsiteX0" fmla="*/ 300514 w 314325"/>
                <a:gd name="connsiteY0" fmla="*/ 105251 h 381000"/>
                <a:gd name="connsiteX1" fmla="*/ 275749 w 314325"/>
                <a:gd name="connsiteY1" fmla="*/ 52864 h 381000"/>
                <a:gd name="connsiteX2" fmla="*/ 229076 w 314325"/>
                <a:gd name="connsiteY2" fmla="*/ 19526 h 381000"/>
                <a:gd name="connsiteX3" fmla="*/ 155734 w 314325"/>
                <a:gd name="connsiteY3" fmla="*/ 7144 h 381000"/>
                <a:gd name="connsiteX4" fmla="*/ 70009 w 314325"/>
                <a:gd name="connsiteY4" fmla="*/ 13811 h 381000"/>
                <a:gd name="connsiteX5" fmla="*/ 7144 w 314325"/>
                <a:gd name="connsiteY5" fmla="*/ 27146 h 381000"/>
                <a:gd name="connsiteX6" fmla="*/ 7144 w 314325"/>
                <a:gd name="connsiteY6" fmla="*/ 329089 h 381000"/>
                <a:gd name="connsiteX7" fmla="*/ 7144 w 314325"/>
                <a:gd name="connsiteY7" fmla="*/ 329089 h 381000"/>
                <a:gd name="connsiteX8" fmla="*/ 7144 w 314325"/>
                <a:gd name="connsiteY8" fmla="*/ 338614 h 381000"/>
                <a:gd name="connsiteX9" fmla="*/ 44291 w 314325"/>
                <a:gd name="connsiteY9" fmla="*/ 375761 h 381000"/>
                <a:gd name="connsiteX10" fmla="*/ 45244 w 314325"/>
                <a:gd name="connsiteY10" fmla="*/ 375761 h 381000"/>
                <a:gd name="connsiteX11" fmla="*/ 45244 w 314325"/>
                <a:gd name="connsiteY11" fmla="*/ 375761 h 381000"/>
                <a:gd name="connsiteX12" fmla="*/ 90964 w 314325"/>
                <a:gd name="connsiteY12" fmla="*/ 375761 h 381000"/>
                <a:gd name="connsiteX13" fmla="*/ 90964 w 314325"/>
                <a:gd name="connsiteY13" fmla="*/ 84296 h 381000"/>
                <a:gd name="connsiteX14" fmla="*/ 116681 w 314325"/>
                <a:gd name="connsiteY14" fmla="*/ 80486 h 381000"/>
                <a:gd name="connsiteX15" fmla="*/ 150019 w 314325"/>
                <a:gd name="connsiteY15" fmla="*/ 78581 h 381000"/>
                <a:gd name="connsiteX16" fmla="*/ 186214 w 314325"/>
                <a:gd name="connsiteY16" fmla="*/ 84296 h 381000"/>
                <a:gd name="connsiteX17" fmla="*/ 210026 w 314325"/>
                <a:gd name="connsiteY17" fmla="*/ 102394 h 381000"/>
                <a:gd name="connsiteX18" fmla="*/ 222409 w 314325"/>
                <a:gd name="connsiteY18" fmla="*/ 135731 h 381000"/>
                <a:gd name="connsiteX19" fmla="*/ 226219 w 314325"/>
                <a:gd name="connsiteY19" fmla="*/ 185261 h 381000"/>
                <a:gd name="connsiteX20" fmla="*/ 226219 w 314325"/>
                <a:gd name="connsiteY20" fmla="*/ 328136 h 381000"/>
                <a:gd name="connsiteX21" fmla="*/ 226219 w 314325"/>
                <a:gd name="connsiteY21" fmla="*/ 328136 h 381000"/>
                <a:gd name="connsiteX22" fmla="*/ 226219 w 314325"/>
                <a:gd name="connsiteY22" fmla="*/ 337661 h 381000"/>
                <a:gd name="connsiteX23" fmla="*/ 263366 w 314325"/>
                <a:gd name="connsiteY23" fmla="*/ 374809 h 381000"/>
                <a:gd name="connsiteX24" fmla="*/ 263366 w 314325"/>
                <a:gd name="connsiteY24" fmla="*/ 374809 h 381000"/>
                <a:gd name="connsiteX25" fmla="*/ 310039 w 314325"/>
                <a:gd name="connsiteY25" fmla="*/ 374809 h 381000"/>
                <a:gd name="connsiteX26" fmla="*/ 310039 w 314325"/>
                <a:gd name="connsiteY26" fmla="*/ 172879 h 381000"/>
                <a:gd name="connsiteX27" fmla="*/ 300514 w 314325"/>
                <a:gd name="connsiteY27" fmla="*/ 105251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14325" h="381000">
                  <a:moveTo>
                    <a:pt x="300514" y="105251"/>
                  </a:moveTo>
                  <a:cubicBezTo>
                    <a:pt x="295751" y="85249"/>
                    <a:pt x="287179" y="67151"/>
                    <a:pt x="275749" y="52864"/>
                  </a:cubicBezTo>
                  <a:cubicBezTo>
                    <a:pt x="264319" y="38576"/>
                    <a:pt x="248126" y="27146"/>
                    <a:pt x="229076" y="19526"/>
                  </a:cubicBezTo>
                  <a:cubicBezTo>
                    <a:pt x="209074" y="11906"/>
                    <a:pt x="185261" y="7144"/>
                    <a:pt x="155734" y="7144"/>
                  </a:cubicBezTo>
                  <a:cubicBezTo>
                    <a:pt x="124301" y="7144"/>
                    <a:pt x="95726" y="9049"/>
                    <a:pt x="70009" y="13811"/>
                  </a:cubicBezTo>
                  <a:cubicBezTo>
                    <a:pt x="44291" y="17621"/>
                    <a:pt x="23336" y="22384"/>
                    <a:pt x="7144" y="27146"/>
                  </a:cubicBezTo>
                  <a:lnTo>
                    <a:pt x="7144" y="329089"/>
                  </a:lnTo>
                  <a:lnTo>
                    <a:pt x="7144" y="329089"/>
                  </a:lnTo>
                  <a:lnTo>
                    <a:pt x="7144" y="338614"/>
                  </a:lnTo>
                  <a:cubicBezTo>
                    <a:pt x="7144" y="358616"/>
                    <a:pt x="23336" y="375761"/>
                    <a:pt x="44291" y="375761"/>
                  </a:cubicBezTo>
                  <a:lnTo>
                    <a:pt x="45244" y="375761"/>
                  </a:lnTo>
                  <a:lnTo>
                    <a:pt x="45244" y="375761"/>
                  </a:lnTo>
                  <a:lnTo>
                    <a:pt x="90964" y="375761"/>
                  </a:lnTo>
                  <a:lnTo>
                    <a:pt x="90964" y="84296"/>
                  </a:lnTo>
                  <a:cubicBezTo>
                    <a:pt x="96679" y="83344"/>
                    <a:pt x="105251" y="82391"/>
                    <a:pt x="116681" y="80486"/>
                  </a:cubicBezTo>
                  <a:cubicBezTo>
                    <a:pt x="128111" y="79534"/>
                    <a:pt x="139541" y="78581"/>
                    <a:pt x="150019" y="78581"/>
                  </a:cubicBezTo>
                  <a:cubicBezTo>
                    <a:pt x="164306" y="78581"/>
                    <a:pt x="176689" y="80486"/>
                    <a:pt x="186214" y="84296"/>
                  </a:cubicBezTo>
                  <a:cubicBezTo>
                    <a:pt x="195739" y="88106"/>
                    <a:pt x="204311" y="94774"/>
                    <a:pt x="210026" y="102394"/>
                  </a:cubicBezTo>
                  <a:cubicBezTo>
                    <a:pt x="215741" y="110966"/>
                    <a:pt x="219551" y="121444"/>
                    <a:pt x="222409" y="135731"/>
                  </a:cubicBezTo>
                  <a:cubicBezTo>
                    <a:pt x="225266" y="149066"/>
                    <a:pt x="226219" y="165259"/>
                    <a:pt x="226219" y="185261"/>
                  </a:cubicBezTo>
                  <a:lnTo>
                    <a:pt x="226219" y="328136"/>
                  </a:lnTo>
                  <a:lnTo>
                    <a:pt x="226219" y="328136"/>
                  </a:lnTo>
                  <a:lnTo>
                    <a:pt x="226219" y="337661"/>
                  </a:lnTo>
                  <a:cubicBezTo>
                    <a:pt x="226219" y="357664"/>
                    <a:pt x="242411" y="374809"/>
                    <a:pt x="263366" y="374809"/>
                  </a:cubicBezTo>
                  <a:lnTo>
                    <a:pt x="263366" y="374809"/>
                  </a:lnTo>
                  <a:lnTo>
                    <a:pt x="310039" y="374809"/>
                  </a:lnTo>
                  <a:lnTo>
                    <a:pt x="310039" y="172879"/>
                  </a:lnTo>
                  <a:cubicBezTo>
                    <a:pt x="307181" y="148114"/>
                    <a:pt x="305276" y="126206"/>
                    <a:pt x="300514" y="1052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6" name="Freeform: Shape 17">
              <a:extLst>
                <a:ext uri="{FF2B5EF4-FFF2-40B4-BE49-F238E27FC236}">
                  <a16:creationId xmlns:a16="http://schemas.microsoft.com/office/drawing/2014/main" id="{3D3DFBE5-6CAA-FD7C-689B-2E0EA438FEE1}"/>
                </a:ext>
              </a:extLst>
            </p:cNvPr>
            <p:cNvSpPr/>
            <p:nvPr/>
          </p:nvSpPr>
          <p:spPr>
            <a:xfrm>
              <a:off x="6619395" y="1521933"/>
              <a:ext cx="457199" cy="371475"/>
            </a:xfrm>
            <a:custGeom>
              <a:avLst/>
              <a:gdLst>
                <a:gd name="connsiteX0" fmla="*/ 304324 w 457200"/>
                <a:gd name="connsiteY0" fmla="*/ 261461 h 371475"/>
                <a:gd name="connsiteX1" fmla="*/ 456724 w 457200"/>
                <a:gd name="connsiteY1" fmla="*/ 110014 h 371475"/>
                <a:gd name="connsiteX2" fmla="*/ 344329 w 457200"/>
                <a:gd name="connsiteY2" fmla="*/ 7144 h 371475"/>
                <a:gd name="connsiteX3" fmla="*/ 125254 w 457200"/>
                <a:gd name="connsiteY3" fmla="*/ 241459 h 371475"/>
                <a:gd name="connsiteX4" fmla="*/ 7144 w 457200"/>
                <a:gd name="connsiteY4" fmla="*/ 348139 h 371475"/>
                <a:gd name="connsiteX5" fmla="*/ 96679 w 457200"/>
                <a:gd name="connsiteY5" fmla="*/ 372904 h 371475"/>
                <a:gd name="connsiteX6" fmla="*/ 306229 w 457200"/>
                <a:gd name="connsiteY6" fmla="*/ 304324 h 371475"/>
                <a:gd name="connsiteX7" fmla="*/ 200501 w 457200"/>
                <a:gd name="connsiteY7" fmla="*/ 210026 h 371475"/>
                <a:gd name="connsiteX8" fmla="*/ 304324 w 457200"/>
                <a:gd name="connsiteY8" fmla="*/ 26146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7200" h="371475">
                  <a:moveTo>
                    <a:pt x="304324" y="261461"/>
                  </a:moveTo>
                  <a:cubicBezTo>
                    <a:pt x="390049" y="261461"/>
                    <a:pt x="455771" y="191929"/>
                    <a:pt x="456724" y="110014"/>
                  </a:cubicBezTo>
                  <a:cubicBezTo>
                    <a:pt x="451009" y="73819"/>
                    <a:pt x="438626" y="7144"/>
                    <a:pt x="344329" y="7144"/>
                  </a:cubicBezTo>
                  <a:cubicBezTo>
                    <a:pt x="242411" y="7144"/>
                    <a:pt x="208121" y="150019"/>
                    <a:pt x="125254" y="241459"/>
                  </a:cubicBezTo>
                  <a:cubicBezTo>
                    <a:pt x="118586" y="293846"/>
                    <a:pt x="69056" y="340519"/>
                    <a:pt x="7144" y="348139"/>
                  </a:cubicBezTo>
                  <a:cubicBezTo>
                    <a:pt x="22384" y="364331"/>
                    <a:pt x="55721" y="372904"/>
                    <a:pt x="96679" y="372904"/>
                  </a:cubicBezTo>
                  <a:cubicBezTo>
                    <a:pt x="170021" y="372904"/>
                    <a:pt x="259556" y="350996"/>
                    <a:pt x="306229" y="304324"/>
                  </a:cubicBezTo>
                  <a:cubicBezTo>
                    <a:pt x="244316" y="305276"/>
                    <a:pt x="204311" y="265271"/>
                    <a:pt x="200501" y="210026"/>
                  </a:cubicBezTo>
                  <a:cubicBezTo>
                    <a:pt x="230029" y="247174"/>
                    <a:pt x="264319" y="261461"/>
                    <a:pt x="304324" y="261461"/>
                  </a:cubicBezTo>
                  <a:close/>
                </a:path>
              </a:pathLst>
            </a:custGeom>
            <a:solidFill>
              <a:srgbClr val="17ABDB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8" name="Freeform: Shape 22">
              <a:extLst>
                <a:ext uri="{FF2B5EF4-FFF2-40B4-BE49-F238E27FC236}">
                  <a16:creationId xmlns:a16="http://schemas.microsoft.com/office/drawing/2014/main" id="{73F98C31-7C93-8DCB-5E83-49284352A68B}"/>
                </a:ext>
              </a:extLst>
            </p:cNvPr>
            <p:cNvSpPr/>
            <p:nvPr/>
          </p:nvSpPr>
          <p:spPr>
            <a:xfrm>
              <a:off x="3176111" y="1268567"/>
              <a:ext cx="3171823" cy="866776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9" name="Freeform: Shape 23">
              <a:extLst>
                <a:ext uri="{FF2B5EF4-FFF2-40B4-BE49-F238E27FC236}">
                  <a16:creationId xmlns:a16="http://schemas.microsoft.com/office/drawing/2014/main" id="{AA4A9288-F7C9-8768-2198-910320B2EA84}"/>
                </a:ext>
              </a:extLst>
            </p:cNvPr>
            <p:cNvSpPr/>
            <p:nvPr/>
          </p:nvSpPr>
          <p:spPr>
            <a:xfrm>
              <a:off x="5565899" y="1311398"/>
              <a:ext cx="95250" cy="104775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0" name="Freeform: Shape 24">
              <a:extLst>
                <a:ext uri="{FF2B5EF4-FFF2-40B4-BE49-F238E27FC236}">
                  <a16:creationId xmlns:a16="http://schemas.microsoft.com/office/drawing/2014/main" id="{F4BCB077-B76C-3FC7-3900-9AF5B64003FD}"/>
                </a:ext>
              </a:extLst>
            </p:cNvPr>
            <p:cNvSpPr/>
            <p:nvPr/>
          </p:nvSpPr>
          <p:spPr>
            <a:xfrm>
              <a:off x="6186959" y="1329492"/>
              <a:ext cx="95250" cy="95250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1" name="Freeform: Shape 25">
              <a:extLst>
                <a:ext uri="{FF2B5EF4-FFF2-40B4-BE49-F238E27FC236}">
                  <a16:creationId xmlns:a16="http://schemas.microsoft.com/office/drawing/2014/main" id="{2B31C56A-59EC-4598-B5C0-AF377143B747}"/>
                </a:ext>
              </a:extLst>
            </p:cNvPr>
            <p:cNvSpPr/>
            <p:nvPr/>
          </p:nvSpPr>
          <p:spPr>
            <a:xfrm>
              <a:off x="6386989" y="1257136"/>
              <a:ext cx="695324" cy="581025"/>
            </a:xfrm>
            <a:custGeom>
              <a:avLst/>
              <a:gdLst>
                <a:gd name="connsiteX0" fmla="*/ 689134 w 695325"/>
                <a:gd name="connsiteY0" fmla="*/ 368141 h 581025"/>
                <a:gd name="connsiteX1" fmla="*/ 571024 w 695325"/>
                <a:gd name="connsiteY1" fmla="*/ 127159 h 581025"/>
                <a:gd name="connsiteX2" fmla="*/ 388144 w 695325"/>
                <a:gd name="connsiteY2" fmla="*/ 13811 h 581025"/>
                <a:gd name="connsiteX3" fmla="*/ 371951 w 695325"/>
                <a:gd name="connsiteY3" fmla="*/ 7144 h 581025"/>
                <a:gd name="connsiteX4" fmla="*/ 371951 w 695325"/>
                <a:gd name="connsiteY4" fmla="*/ 7144 h 581025"/>
                <a:gd name="connsiteX5" fmla="*/ 371951 w 695325"/>
                <a:gd name="connsiteY5" fmla="*/ 7144 h 581025"/>
                <a:gd name="connsiteX6" fmla="*/ 7144 w 695325"/>
                <a:gd name="connsiteY6" fmla="*/ 383381 h 581025"/>
                <a:gd name="connsiteX7" fmla="*/ 132874 w 695325"/>
                <a:gd name="connsiteY7" fmla="*/ 569119 h 581025"/>
                <a:gd name="connsiteX8" fmla="*/ 262414 w 695325"/>
                <a:gd name="connsiteY8" fmla="*/ 571976 h 581025"/>
                <a:gd name="connsiteX9" fmla="*/ 358616 w 695325"/>
                <a:gd name="connsiteY9" fmla="*/ 506254 h 581025"/>
                <a:gd name="connsiteX10" fmla="*/ 577692 w 695325"/>
                <a:gd name="connsiteY10" fmla="*/ 271939 h 581025"/>
                <a:gd name="connsiteX11" fmla="*/ 690086 w 695325"/>
                <a:gd name="connsiteY11" fmla="*/ 374809 h 581025"/>
                <a:gd name="connsiteX12" fmla="*/ 689134 w 695325"/>
                <a:gd name="connsiteY12" fmla="*/ 368141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95325" h="581025">
                  <a:moveTo>
                    <a:pt x="689134" y="368141"/>
                  </a:moveTo>
                  <a:cubicBezTo>
                    <a:pt x="687229" y="271939"/>
                    <a:pt x="641509" y="191929"/>
                    <a:pt x="571024" y="127159"/>
                  </a:cubicBezTo>
                  <a:cubicBezTo>
                    <a:pt x="517684" y="78581"/>
                    <a:pt x="453866" y="41434"/>
                    <a:pt x="388144" y="13811"/>
                  </a:cubicBezTo>
                  <a:cubicBezTo>
                    <a:pt x="382429" y="11906"/>
                    <a:pt x="377666" y="9049"/>
                    <a:pt x="371951" y="7144"/>
                  </a:cubicBezTo>
                  <a:lnTo>
                    <a:pt x="371951" y="7144"/>
                  </a:lnTo>
                  <a:cubicBezTo>
                    <a:pt x="371951" y="7144"/>
                    <a:pt x="371951" y="7144"/>
                    <a:pt x="371951" y="7144"/>
                  </a:cubicBezTo>
                  <a:cubicBezTo>
                    <a:pt x="290036" y="105251"/>
                    <a:pt x="7144" y="178594"/>
                    <a:pt x="7144" y="383381"/>
                  </a:cubicBezTo>
                  <a:cubicBezTo>
                    <a:pt x="7144" y="463391"/>
                    <a:pt x="57626" y="538639"/>
                    <a:pt x="132874" y="569119"/>
                  </a:cubicBezTo>
                  <a:cubicBezTo>
                    <a:pt x="175736" y="585311"/>
                    <a:pt x="219551" y="586264"/>
                    <a:pt x="262414" y="571976"/>
                  </a:cubicBezTo>
                  <a:cubicBezTo>
                    <a:pt x="300514" y="559594"/>
                    <a:pt x="332899" y="535781"/>
                    <a:pt x="358616" y="506254"/>
                  </a:cubicBezTo>
                  <a:cubicBezTo>
                    <a:pt x="441484" y="413861"/>
                    <a:pt x="475774" y="271939"/>
                    <a:pt x="577692" y="271939"/>
                  </a:cubicBezTo>
                  <a:cubicBezTo>
                    <a:pt x="671036" y="271939"/>
                    <a:pt x="683419" y="338614"/>
                    <a:pt x="690086" y="374809"/>
                  </a:cubicBezTo>
                  <a:cubicBezTo>
                    <a:pt x="689134" y="373856"/>
                    <a:pt x="689134" y="371951"/>
                    <a:pt x="689134" y="36814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6884860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 Dark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406576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">
            <a:extLst>
              <a:ext uri="{FF2B5EF4-FFF2-40B4-BE49-F238E27FC236}">
                <a16:creationId xmlns:a16="http://schemas.microsoft.com/office/drawing/2014/main" id="{70ACFCFC-1DDE-342C-6F6C-421985D8A34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988" y="5460790"/>
            <a:ext cx="11090275" cy="246221"/>
          </a:xfrm>
          <a:prstGeom prst="rect">
            <a:avLst/>
          </a:prstGeom>
        </p:spPr>
        <p:txBody>
          <a:bodyPr wrap="square" lIns="18000" tIns="0" rIns="0" anchor="b" anchorCtr="0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BA5DDAC5-BAB8-79F8-0B48-89767D2C03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4697327"/>
            <a:ext cx="11090276" cy="747897"/>
          </a:xfr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8B5D9CCD-97AB-0A8C-8F1D-AB5C4C775A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67808" y="-1636495"/>
            <a:ext cx="8715336" cy="7220395"/>
          </a:xfrm>
          <a:prstGeom prst="rect">
            <a:avLst/>
          </a:prstGeom>
        </p:spPr>
      </p:pic>
      <p:pic>
        <p:nvPicPr>
          <p:cNvPr id="11" name="Graphique 10">
            <a:extLst>
              <a:ext uri="{FF2B5EF4-FFF2-40B4-BE49-F238E27FC236}">
                <a16:creationId xmlns:a16="http://schemas.microsoft.com/office/drawing/2014/main" id="{5EE4A2CA-448B-3DB3-0F6A-0206C7221F2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2694" y="5975962"/>
            <a:ext cx="2988000" cy="453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65067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dark grey">
    <p:bg>
      <p:bgPr>
        <a:solidFill>
          <a:srgbClr val="2729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E6BB52B-0C5D-4023-89D5-282E9A5202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1077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9B0A5E-3FA6-B19F-1DBF-74026BF5D9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3" y="388188"/>
            <a:ext cx="10136187" cy="716711"/>
          </a:xfrm>
        </p:spPr>
        <p:txBody>
          <a:bodyPr anchor="t"/>
          <a:lstStyle>
            <a:lvl1pPr>
              <a:defRPr kumimoji="0" lang="en-GB" sz="2600" b="0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400043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ubtitle Content Dark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AD68C878-113C-6C1D-F0EA-F13B81C9828E}"/>
              </a:ext>
            </a:extLst>
          </p:cNvPr>
          <p:cNvSpPr>
            <a:spLocks noGrp="1"/>
          </p:cNvSpPr>
          <p:nvPr>
            <p:ph type="title" idx="4294967295" hasCustomPrompt="1"/>
          </p:nvPr>
        </p:nvSpPr>
        <p:spPr>
          <a:xfrm>
            <a:off x="510571" y="295386"/>
            <a:ext cx="11009313" cy="792163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z="2400" spc="-45"/>
              <a:t>Sample Text</a:t>
            </a:r>
            <a:endParaRPr lang="en-US" sz="3200"/>
          </a:p>
        </p:txBody>
      </p:sp>
    </p:spTree>
    <p:extLst>
      <p:ext uri="{BB962C8B-B14F-4D97-AF65-F5344CB8AC3E}">
        <p14:creationId xmlns:p14="http://schemas.microsoft.com/office/powerpoint/2010/main" val="36111746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clusio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9EA84EC-0E0C-41F6-8286-BC5A87DC6C7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7038" y="2320211"/>
            <a:ext cx="11356975" cy="2215991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000" b="0" cap="none" baseline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itle</a:t>
            </a:r>
            <a:r>
              <a:rPr lang="fr-FR"/>
              <a:t> Style</a:t>
            </a:r>
          </a:p>
        </p:txBody>
      </p:sp>
      <p:pic>
        <p:nvPicPr>
          <p:cNvPr id="4" name="Picture 16">
            <a:extLst>
              <a:ext uri="{FF2B5EF4-FFF2-40B4-BE49-F238E27FC236}">
                <a16:creationId xmlns:a16="http://schemas.microsoft.com/office/drawing/2014/main" id="{415561A2-AF17-AE8E-8E0A-9B607FD1FA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9896" y="1107202"/>
            <a:ext cx="8281358" cy="6858000"/>
          </a:xfrm>
          <a:prstGeom prst="rect">
            <a:avLst/>
          </a:prstGeom>
        </p:spPr>
      </p:pic>
      <p:pic>
        <p:nvPicPr>
          <p:cNvPr id="6" name="Graphique 5">
            <a:extLst>
              <a:ext uri="{FF2B5EF4-FFF2-40B4-BE49-F238E27FC236}">
                <a16:creationId xmlns:a16="http://schemas.microsoft.com/office/drawing/2014/main" id="{1D4088C5-5458-D4E6-28EF-C60FAD359A2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2694" y="5975962"/>
            <a:ext cx="2988000" cy="453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6694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image" Target="../media/image1.png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slideLayout" Target="../slideLayouts/slideLayout80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9.xml"/><Relationship Id="rId17" Type="http://schemas.openxmlformats.org/officeDocument/2006/relationships/slideLayout" Target="../slideLayouts/slideLayout84.xml"/><Relationship Id="rId2" Type="http://schemas.openxmlformats.org/officeDocument/2006/relationships/slideLayout" Target="../slideLayouts/slideLayout69.xml"/><Relationship Id="rId16" Type="http://schemas.openxmlformats.org/officeDocument/2006/relationships/slideLayout" Target="../slideLayouts/slideLayout83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2.xml"/><Relationship Id="rId15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77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slideLayout" Target="../slideLayouts/slideLayout8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ID" hidden="1">
            <a:extLst>
              <a:ext uri="{FF2B5EF4-FFF2-40B4-BE49-F238E27FC236}">
                <a16:creationId xmlns:a16="http://schemas.microsoft.com/office/drawing/2014/main" id="{A27D0679-8D96-1186-A961-BDC17B525A6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6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4971" y="388938"/>
            <a:ext cx="11369040" cy="6067248"/>
          </a:xfrm>
          <a:prstGeom prst="rect">
            <a:avLst/>
          </a:prstGeom>
        </p:spPr>
      </p:pic>
      <p:sp>
        <p:nvSpPr>
          <p:cNvPr id="4" name="Text Placeholder 1"/>
          <p:cNvSpPr>
            <a:spLocks noGrp="1"/>
          </p:cNvSpPr>
          <p:nvPr>
            <p:ph type="body" idx="1"/>
          </p:nvPr>
        </p:nvSpPr>
        <p:spPr>
          <a:xfrm>
            <a:off x="407988" y="1628800"/>
            <a:ext cx="11369040" cy="48290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/>
              <a:t>Enter </a:t>
            </a:r>
            <a:r>
              <a:rPr lang="fr-FR" err="1"/>
              <a:t>your</a:t>
            </a:r>
            <a:r>
              <a:rPr lang="fr-FR"/>
              <a:t> content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en-US"/>
          </a:p>
        </p:txBody>
      </p:sp>
      <p:grpSp>
        <p:nvGrpSpPr>
          <p:cNvPr id="31" name="Groupe 1">
            <a:extLst>
              <a:ext uri="{FF2B5EF4-FFF2-40B4-BE49-F238E27FC236}">
                <a16:creationId xmlns:a16="http://schemas.microsoft.com/office/drawing/2014/main" id="{F31688C0-3AAB-457C-86FA-4177A059CF79}"/>
              </a:ext>
            </a:extLst>
          </p:cNvPr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33" name="Freeform 13">
              <a:extLst>
                <a:ext uri="{FF2B5EF4-FFF2-40B4-BE49-F238E27FC236}">
                  <a16:creationId xmlns:a16="http://schemas.microsoft.com/office/drawing/2014/main" id="{0DF4B7FE-AA65-4E55-B964-75A3DEE12D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Freeform 14">
              <a:extLst>
                <a:ext uri="{FF2B5EF4-FFF2-40B4-BE49-F238E27FC236}">
                  <a16:creationId xmlns:a16="http://schemas.microsoft.com/office/drawing/2014/main" id="{08DB13D7-F3B3-4CCC-9572-7C835EA669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" name="Title Placeholder 4">
            <a:extLst>
              <a:ext uri="{FF2B5EF4-FFF2-40B4-BE49-F238E27FC236}">
                <a16:creationId xmlns:a16="http://schemas.microsoft.com/office/drawing/2014/main" id="{D28F27D4-FFE2-4FAB-BA1B-9D013846C4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971" y="260350"/>
            <a:ext cx="11008413" cy="79216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20" name="Stickerbox" hidden="1">
            <a:extLst>
              <a:ext uri="{FF2B5EF4-FFF2-40B4-BE49-F238E27FC236}">
                <a16:creationId xmlns:a16="http://schemas.microsoft.com/office/drawing/2014/main" id="{D03A9799-ACDC-4925-8EE1-5C65CCCBD0FA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0979205" y="1068490"/>
            <a:ext cx="804808" cy="402775"/>
          </a:xfrm>
          <a:prstGeom prst="rect">
            <a:avLst/>
          </a:prstGeom>
          <a:solidFill>
            <a:schemeClr val="accent2"/>
          </a:solidFill>
          <a:ln w="10795">
            <a:noFill/>
            <a:round/>
            <a:headEnd/>
            <a:tailEnd/>
          </a:ln>
          <a:effectLst/>
        </p:spPr>
        <p:txBody>
          <a:bodyPr vert="horz" wrap="none" lIns="108000" tIns="108000" rIns="108000" bIns="10800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all" spc="0" normalizeH="0" baseline="0" noProof="0">
                <a:ln>
                  <a:noFill/>
                </a:ln>
                <a:solidFill>
                  <a:srgbClr val="FFFFFF">
                    <a:lumMod val="100000"/>
                  </a:srgbClr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ticker</a:t>
            </a:r>
          </a:p>
        </p:txBody>
      </p:sp>
      <p:sp>
        <p:nvSpPr>
          <p:cNvPr id="22" name="CapgeminiBox" hidden="1">
            <a:extLst>
              <a:ext uri="{FF2B5EF4-FFF2-40B4-BE49-F238E27FC236}">
                <a16:creationId xmlns:a16="http://schemas.microsoft.com/office/drawing/2014/main" id="{7C293A1E-B461-4AFE-976D-6EE38B2AFEB4}"/>
              </a:ext>
            </a:extLst>
          </p:cNvPr>
          <p:cNvSpPr txBox="1">
            <a:spLocks/>
          </p:cNvSpPr>
          <p:nvPr userDrawn="1"/>
        </p:nvSpPr>
        <p:spPr>
          <a:xfrm>
            <a:off x="9592" y="0"/>
            <a:ext cx="1837661" cy="260350"/>
          </a:xfrm>
          <a:prstGeom prst="rect">
            <a:avLst/>
          </a:prstGeom>
        </p:spPr>
        <p:txBody>
          <a:bodyPr vert="horz" lIns="0" tIns="0" rIns="1800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Verdana" panose="020B0604030504040204" pitchFamily="34" charset="0"/>
              <a:buChar char="‒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Capgemini v10.0</a:t>
            </a:r>
          </a:p>
        </p:txBody>
      </p:sp>
      <p:sp>
        <p:nvSpPr>
          <p:cNvPr id="29" name="FootnoteAndSource" hidden="1">
            <a:extLst>
              <a:ext uri="{FF2B5EF4-FFF2-40B4-BE49-F238E27FC236}">
                <a16:creationId xmlns:a16="http://schemas.microsoft.com/office/drawing/2014/main" id="{96E9BC24-418C-4CE4-8E81-3AF9AB04DEAA}"/>
              </a:ext>
            </a:extLst>
          </p:cNvPr>
          <p:cNvSpPr txBox="1"/>
          <p:nvPr userDrawn="1"/>
        </p:nvSpPr>
        <p:spPr>
          <a:xfrm>
            <a:off x="398738" y="6304130"/>
            <a:ext cx="11340000" cy="162096"/>
          </a:xfrm>
          <a:prstGeom prst="rect">
            <a:avLst/>
          </a:prstGeom>
          <a:noFill/>
        </p:spPr>
        <p:txBody>
          <a:bodyPr vert="horz" wrap="square" lIns="0" tIns="25400" rIns="0" bIns="25400" rtlCol="0" anchor="b" anchorCtr="0">
            <a:spAutoFit/>
          </a:bodyPr>
          <a:lstStyle>
            <a:defPPr>
              <a:defRPr lang="pt-PT"/>
            </a:defPPr>
            <a:lvl1pPr marL="429768" indent="-429768">
              <a:lnSpc>
                <a:spcPct val="90000"/>
              </a:lnSpc>
              <a:tabLst>
                <a:tab pos="347472" algn="r"/>
              </a:tabLst>
              <a:defRPr sz="800"/>
            </a:lvl1pPr>
          </a:lstStyle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/>
              <a:t>	Source:	Source Text</a:t>
            </a:r>
          </a:p>
        </p:txBody>
      </p:sp>
      <p:sp>
        <p:nvSpPr>
          <p:cNvPr id="7" name="Rectangle 43">
            <a:extLst>
              <a:ext uri="{FF2B5EF4-FFF2-40B4-BE49-F238E27FC236}">
                <a16:creationId xmlns:a16="http://schemas.microsoft.com/office/drawing/2014/main" id="{5A64C6D2-B9B0-18AF-749A-15AAED7E4993}"/>
              </a:ext>
            </a:extLst>
          </p:cNvPr>
          <p:cNvSpPr/>
          <p:nvPr userDrawn="1"/>
        </p:nvSpPr>
        <p:spPr>
          <a:xfrm>
            <a:off x="11648878" y="6517658"/>
            <a:ext cx="229263" cy="21544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latin typeface="+mn-lt"/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chemeClr val="bg1">
                  <a:lumMod val="65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8" name="Rectangle 27">
            <a:extLst>
              <a:ext uri="{FF2B5EF4-FFF2-40B4-BE49-F238E27FC236}">
                <a16:creationId xmlns:a16="http://schemas.microsoft.com/office/drawing/2014/main" id="{EDEB110C-164C-4AA7-D614-940EB7C34D28}"/>
              </a:ext>
            </a:extLst>
          </p:cNvPr>
          <p:cNvSpPr/>
          <p:nvPr userDrawn="1"/>
        </p:nvSpPr>
        <p:spPr>
          <a:xfrm>
            <a:off x="7131820" y="6517871"/>
            <a:ext cx="4532162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700">
                <a:solidFill>
                  <a:schemeClr val="bg1">
                    <a:lumMod val="65000"/>
                  </a:schemeClr>
                </a:solidFill>
                <a:latin typeface="+mn-lt"/>
                <a:cs typeface="Arial" panose="020B0604020202020204" pitchFamily="34" charset="0"/>
              </a:rPr>
              <a:t>Company Confidential © Capgemini 2025. All rights reserved  |</a:t>
            </a:r>
          </a:p>
        </p:txBody>
      </p:sp>
    </p:spTree>
    <p:extLst>
      <p:ext uri="{BB962C8B-B14F-4D97-AF65-F5344CB8AC3E}">
        <p14:creationId xmlns:p14="http://schemas.microsoft.com/office/powerpoint/2010/main" val="34988845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  <p:sldLayoutId id="2147483722" r:id="rId62"/>
    <p:sldLayoutId id="2147483723" r:id="rId63"/>
    <p:sldLayoutId id="2147483724" r:id="rId64"/>
    <p:sldLayoutId id="2147483725" r:id="rId65"/>
    <p:sldLayoutId id="2147483726" r:id="rId66"/>
    <p:sldLayoutId id="2147483727" r:id="rId67"/>
  </p:sldLayoutIdLst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hf sldNum="0" hdr="0" ftr="0" dt="0"/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2800" b="0" i="0" u="none" strike="noStrike" kern="1200" cap="none" spc="0" normalizeH="0" baseline="0" noProof="0" dirty="0">
          <a:ln>
            <a:noFill/>
          </a:ln>
          <a:solidFill>
            <a:schemeClr val="tx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600"/>
        </a:spcBef>
        <a:buClrTx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lnSpc>
          <a:spcPct val="100000"/>
        </a:lnSpc>
        <a:spcBef>
          <a:spcPts val="600"/>
        </a:spcBef>
        <a:buClrTx/>
        <a:buFont typeface="Verdana" panose="020B0604030504040204" pitchFamily="34" charset="0"/>
        <a:buChar char="‒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19138" indent="-180975" algn="l" defTabSz="914400" rtl="0" eaLnBrk="1" latinLnBrk="0" hangingPunct="1">
        <a:lnSpc>
          <a:spcPct val="100000"/>
        </a:lnSpc>
        <a:spcBef>
          <a:spcPts val="60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8" orient="horz" pos="663">
          <p15:clr>
            <a:srgbClr val="F26B43"/>
          </p15:clr>
        </p15:guide>
        <p15:guide id="19" orient="horz" pos="4320">
          <p15:clr>
            <a:srgbClr val="F26B43"/>
          </p15:clr>
        </p15:guide>
        <p15:guide id="20" pos="257">
          <p15:clr>
            <a:srgbClr val="F26B43"/>
          </p15:clr>
        </p15:guide>
        <p15:guide id="21" pos="3840">
          <p15:clr>
            <a:srgbClr val="F26B43"/>
          </p15:clr>
        </p15:guide>
        <p15:guide id="22" pos="7423">
          <p15:clr>
            <a:srgbClr val="F26B43"/>
          </p15:clr>
        </p15:guide>
        <p15:guide id="23" orient="horz" pos="255">
          <p15:clr>
            <a:srgbClr val="F26B43"/>
          </p15:clr>
        </p15:guide>
        <p15:guide id="24" orient="horz" pos="1026">
          <p15:clr>
            <a:srgbClr val="F26B43"/>
          </p15:clr>
        </p15:guide>
        <p15:guide id="26" orient="horz" pos="4065">
          <p15:clr>
            <a:srgbClr val="F26B43"/>
          </p15:clr>
        </p15:guide>
        <p15:guide id="27" orient="horz" pos="89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ID" hidden="1">
            <a:extLst>
              <a:ext uri="{FF2B5EF4-FFF2-40B4-BE49-F238E27FC236}">
                <a16:creationId xmlns:a16="http://schemas.microsoft.com/office/drawing/2014/main" id="{A27D0679-8D96-1186-A961-BDC17B525A6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4971" y="388938"/>
            <a:ext cx="11369040" cy="6067248"/>
          </a:xfrm>
          <a:prstGeom prst="rect">
            <a:avLst/>
          </a:prstGeom>
        </p:spPr>
      </p:pic>
      <p:sp>
        <p:nvSpPr>
          <p:cNvPr id="4" name="Text Placeholder 1"/>
          <p:cNvSpPr>
            <a:spLocks noGrp="1"/>
          </p:cNvSpPr>
          <p:nvPr>
            <p:ph type="body" idx="1"/>
          </p:nvPr>
        </p:nvSpPr>
        <p:spPr>
          <a:xfrm>
            <a:off x="407988" y="1628800"/>
            <a:ext cx="11369040" cy="48290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/>
              <a:t>Enter </a:t>
            </a:r>
            <a:r>
              <a:rPr lang="fr-FR" err="1"/>
              <a:t>your</a:t>
            </a:r>
            <a:r>
              <a:rPr lang="fr-FR"/>
              <a:t> content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en-US"/>
          </a:p>
        </p:txBody>
      </p:sp>
      <p:sp>
        <p:nvSpPr>
          <p:cNvPr id="5" name="Title Placeholder 4">
            <a:extLst>
              <a:ext uri="{FF2B5EF4-FFF2-40B4-BE49-F238E27FC236}">
                <a16:creationId xmlns:a16="http://schemas.microsoft.com/office/drawing/2014/main" id="{D28F27D4-FFE2-4FAB-BA1B-9D013846C4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971" y="260350"/>
            <a:ext cx="11008413" cy="79216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20" name="Stickerbox" hidden="1">
            <a:extLst>
              <a:ext uri="{FF2B5EF4-FFF2-40B4-BE49-F238E27FC236}">
                <a16:creationId xmlns:a16="http://schemas.microsoft.com/office/drawing/2014/main" id="{D03A9799-ACDC-4925-8EE1-5C65CCCBD0FA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0979205" y="1068490"/>
            <a:ext cx="804808" cy="402775"/>
          </a:xfrm>
          <a:prstGeom prst="rect">
            <a:avLst/>
          </a:prstGeom>
          <a:solidFill>
            <a:schemeClr val="accent2"/>
          </a:solidFill>
          <a:ln w="10795">
            <a:noFill/>
            <a:round/>
            <a:headEnd/>
            <a:tailEnd/>
          </a:ln>
          <a:effectLst/>
        </p:spPr>
        <p:txBody>
          <a:bodyPr vert="horz" wrap="none" lIns="108000" tIns="108000" rIns="108000" bIns="10800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all" spc="0" normalizeH="0" baseline="0" noProof="0">
                <a:ln>
                  <a:noFill/>
                </a:ln>
                <a:solidFill>
                  <a:srgbClr val="FFFFFF">
                    <a:lumMod val="100000"/>
                  </a:srgbClr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ticker</a:t>
            </a:r>
          </a:p>
        </p:txBody>
      </p:sp>
      <p:sp>
        <p:nvSpPr>
          <p:cNvPr id="22" name="CapgeminiBox" hidden="1">
            <a:extLst>
              <a:ext uri="{FF2B5EF4-FFF2-40B4-BE49-F238E27FC236}">
                <a16:creationId xmlns:a16="http://schemas.microsoft.com/office/drawing/2014/main" id="{7C293A1E-B461-4AFE-976D-6EE38B2AFEB4}"/>
              </a:ext>
            </a:extLst>
          </p:cNvPr>
          <p:cNvSpPr txBox="1">
            <a:spLocks/>
          </p:cNvSpPr>
          <p:nvPr userDrawn="1"/>
        </p:nvSpPr>
        <p:spPr>
          <a:xfrm>
            <a:off x="9592" y="0"/>
            <a:ext cx="1837661" cy="260350"/>
          </a:xfrm>
          <a:prstGeom prst="rect">
            <a:avLst/>
          </a:prstGeom>
        </p:spPr>
        <p:txBody>
          <a:bodyPr vert="horz" lIns="0" tIns="0" rIns="1800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Verdana" panose="020B0604030504040204" pitchFamily="34" charset="0"/>
              <a:buChar char="‒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Capgemini v10.0</a:t>
            </a:r>
          </a:p>
        </p:txBody>
      </p:sp>
      <p:sp>
        <p:nvSpPr>
          <p:cNvPr id="29" name="FootnoteAndSource" hidden="1">
            <a:extLst>
              <a:ext uri="{FF2B5EF4-FFF2-40B4-BE49-F238E27FC236}">
                <a16:creationId xmlns:a16="http://schemas.microsoft.com/office/drawing/2014/main" id="{96E9BC24-418C-4CE4-8E81-3AF9AB04DEAA}"/>
              </a:ext>
            </a:extLst>
          </p:cNvPr>
          <p:cNvSpPr txBox="1"/>
          <p:nvPr userDrawn="1"/>
        </p:nvSpPr>
        <p:spPr>
          <a:xfrm>
            <a:off x="398738" y="6304130"/>
            <a:ext cx="11340000" cy="162096"/>
          </a:xfrm>
          <a:prstGeom prst="rect">
            <a:avLst/>
          </a:prstGeom>
          <a:noFill/>
        </p:spPr>
        <p:txBody>
          <a:bodyPr vert="horz" wrap="square" lIns="0" tIns="25400" rIns="0" bIns="25400" rtlCol="0" anchor="b" anchorCtr="0">
            <a:spAutoFit/>
          </a:bodyPr>
          <a:lstStyle>
            <a:defPPr>
              <a:defRPr lang="pt-PT"/>
            </a:defPPr>
            <a:lvl1pPr marL="429768" indent="-429768">
              <a:lnSpc>
                <a:spcPct val="90000"/>
              </a:lnSpc>
              <a:tabLst>
                <a:tab pos="347472" algn="r"/>
              </a:tabLst>
              <a:defRPr sz="800"/>
            </a:lvl1pPr>
          </a:lstStyle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/>
              <a:t>	Source:	Source Text</a:t>
            </a:r>
          </a:p>
        </p:txBody>
      </p:sp>
      <p:sp>
        <p:nvSpPr>
          <p:cNvPr id="6" name="Rectangle 27">
            <a:extLst>
              <a:ext uri="{FF2B5EF4-FFF2-40B4-BE49-F238E27FC236}">
                <a16:creationId xmlns:a16="http://schemas.microsoft.com/office/drawing/2014/main" id="{C7A3A5DA-5BBD-64D1-6DE2-E0F6859C58F2}"/>
              </a:ext>
            </a:extLst>
          </p:cNvPr>
          <p:cNvSpPr/>
          <p:nvPr userDrawn="1"/>
        </p:nvSpPr>
        <p:spPr>
          <a:xfrm>
            <a:off x="7131820" y="6517871"/>
            <a:ext cx="4532162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700">
                <a:solidFill>
                  <a:schemeClr val="bg1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Company Confidential © Capgemini 2025. All rights reserved  |</a:t>
            </a:r>
          </a:p>
        </p:txBody>
      </p:sp>
      <p:sp>
        <p:nvSpPr>
          <p:cNvPr id="7" name="Rectangle 43">
            <a:extLst>
              <a:ext uri="{FF2B5EF4-FFF2-40B4-BE49-F238E27FC236}">
                <a16:creationId xmlns:a16="http://schemas.microsoft.com/office/drawing/2014/main" id="{5A64C6D2-B9B0-18AF-749A-15AAED7E4993}"/>
              </a:ext>
            </a:extLst>
          </p:cNvPr>
          <p:cNvSpPr/>
          <p:nvPr userDrawn="1"/>
        </p:nvSpPr>
        <p:spPr>
          <a:xfrm>
            <a:off x="11648878" y="6517658"/>
            <a:ext cx="229263" cy="21544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latin typeface="+mn-lt"/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chemeClr val="bg1">
                  <a:lumMod val="65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15" name="Groupe 1">
            <a:extLst>
              <a:ext uri="{FF2B5EF4-FFF2-40B4-BE49-F238E27FC236}">
                <a16:creationId xmlns:a16="http://schemas.microsoft.com/office/drawing/2014/main" id="{21F7B425-C365-5D49-4ED1-F6731BEF61AC}"/>
              </a:ext>
            </a:extLst>
          </p:cNvPr>
          <p:cNvGrpSpPr/>
          <p:nvPr userDrawn="1"/>
        </p:nvGrpSpPr>
        <p:grpSpPr>
          <a:xfrm>
            <a:off x="11799949" y="90411"/>
            <a:ext cx="278841" cy="258599"/>
            <a:chOff x="11501102" y="171573"/>
            <a:chExt cx="419436" cy="388988"/>
          </a:xfrm>
        </p:grpSpPr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E9D2EB52-A694-E7F5-65D6-A346C0865B1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FEBD54CA-66FF-38FE-352E-8CDB17238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4803645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  <p:sldLayoutId id="2147483741" r:id="rId13"/>
    <p:sldLayoutId id="2147483742" r:id="rId14"/>
    <p:sldLayoutId id="2147483743" r:id="rId15"/>
    <p:sldLayoutId id="2147483744" r:id="rId16"/>
    <p:sldLayoutId id="2147483745" r:id="rId17"/>
  </p:sldLayoutIdLst>
  <p:hf sldNum="0" hdr="0" ftr="0" dt="0"/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2800" b="0" i="0" u="none" strike="noStrike" kern="1200" cap="none" spc="0" normalizeH="0" baseline="0" noProof="0" dirty="0">
          <a:ln>
            <a:noFill/>
          </a:ln>
          <a:solidFill>
            <a:schemeClr val="tx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600"/>
        </a:spcBef>
        <a:buClrTx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lnSpc>
          <a:spcPct val="100000"/>
        </a:lnSpc>
        <a:spcBef>
          <a:spcPts val="600"/>
        </a:spcBef>
        <a:buClrTx/>
        <a:buFont typeface="Verdana" panose="020B0604030504040204" pitchFamily="34" charset="0"/>
        <a:buChar char="‒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19138" indent="-180975" algn="l" defTabSz="914400" rtl="0" eaLnBrk="1" latinLnBrk="0" hangingPunct="1">
        <a:lnSpc>
          <a:spcPct val="100000"/>
        </a:lnSpc>
        <a:spcBef>
          <a:spcPts val="60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8" orient="horz" pos="663">
          <p15:clr>
            <a:srgbClr val="F26B43"/>
          </p15:clr>
        </p15:guide>
        <p15:guide id="19" orient="horz" pos="4320">
          <p15:clr>
            <a:srgbClr val="F26B43"/>
          </p15:clr>
        </p15:guide>
        <p15:guide id="20" pos="257">
          <p15:clr>
            <a:srgbClr val="F26B43"/>
          </p15:clr>
        </p15:guide>
        <p15:guide id="21" pos="3840">
          <p15:clr>
            <a:srgbClr val="F26B43"/>
          </p15:clr>
        </p15:guide>
        <p15:guide id="22" pos="7423">
          <p15:clr>
            <a:srgbClr val="F26B43"/>
          </p15:clr>
        </p15:guide>
        <p15:guide id="23" orient="horz" pos="255">
          <p15:clr>
            <a:srgbClr val="F26B43"/>
          </p15:clr>
        </p15:guide>
        <p15:guide id="24" orient="horz" pos="1026">
          <p15:clr>
            <a:srgbClr val="F26B43"/>
          </p15:clr>
        </p15:guide>
        <p15:guide id="26" orient="horz" pos="4065">
          <p15:clr>
            <a:srgbClr val="F26B43"/>
          </p15:clr>
        </p15:guide>
        <p15:guide id="27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svg"/><Relationship Id="rId7" Type="http://schemas.openxmlformats.org/officeDocument/2006/relationships/image" Target="../media/image24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1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10" Type="http://schemas.openxmlformats.org/officeDocument/2006/relationships/image" Target="../media/image27.png"/><Relationship Id="rId4" Type="http://schemas.openxmlformats.org/officeDocument/2006/relationships/image" Target="../media/image21.jpeg"/><Relationship Id="rId9" Type="http://schemas.openxmlformats.org/officeDocument/2006/relationships/image" Target="../media/image2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3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63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63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97D647-F04D-A872-D7E0-30FFC4BA7E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02">
            <a:extLst>
              <a:ext uri="{FF2B5EF4-FFF2-40B4-BE49-F238E27FC236}">
                <a16:creationId xmlns:a16="http://schemas.microsoft.com/office/drawing/2014/main" id="{B8C1A328-87E8-69D9-3CD1-D25EC49E64E0}"/>
              </a:ext>
            </a:extLst>
          </p:cNvPr>
          <p:cNvSpPr/>
          <p:nvPr/>
        </p:nvSpPr>
        <p:spPr>
          <a:xfrm>
            <a:off x="8405528" y="2350252"/>
            <a:ext cx="2534632" cy="388556"/>
          </a:xfrm>
          <a:prstGeom prst="roundRect">
            <a:avLst>
              <a:gd name="adj" fmla="val 50000"/>
            </a:avLst>
          </a:prstGeom>
          <a:noFill/>
          <a:ln w="19050" cap="flat" cmpd="sng" algn="ctr">
            <a:solidFill>
              <a:srgbClr val="57CF80"/>
            </a:solidFill>
            <a:prstDash val="solid"/>
          </a:ln>
          <a:effectLst/>
        </p:spPr>
        <p:txBody>
          <a:bodyPr wrap="square" lIns="457200" tIns="0" rIns="34359" bIns="0" rtlCol="0" anchor="ctr"/>
          <a:lstStyle/>
          <a:p>
            <a:pPr marL="0" marR="0" lvl="0" indent="0" algn="l" defTabSz="8727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>
                <a:ln>
                  <a:noFill/>
                </a:ln>
                <a:solidFill>
                  <a:srgbClr val="57CF80"/>
                </a:solidFill>
                <a:effectLst/>
                <a:uLnTx/>
                <a:uFillTx/>
                <a:latin typeface="Ubuntu"/>
                <a:ea typeface="+mn-ea"/>
                <a:cs typeface="Arial"/>
                <a:sym typeface="Arial"/>
              </a:rPr>
              <a:t>BENEFITS</a:t>
            </a:r>
          </a:p>
        </p:txBody>
      </p:sp>
      <p:sp>
        <p:nvSpPr>
          <p:cNvPr id="3" name="Rounded Rectangle 93">
            <a:extLst>
              <a:ext uri="{FF2B5EF4-FFF2-40B4-BE49-F238E27FC236}">
                <a16:creationId xmlns:a16="http://schemas.microsoft.com/office/drawing/2014/main" id="{549D642C-0001-714C-0015-26720DB3BFEA}"/>
              </a:ext>
            </a:extLst>
          </p:cNvPr>
          <p:cNvSpPr/>
          <p:nvPr/>
        </p:nvSpPr>
        <p:spPr>
          <a:xfrm>
            <a:off x="4641156" y="2480528"/>
            <a:ext cx="3054545" cy="285186"/>
          </a:xfrm>
          <a:prstGeom prst="roundRect">
            <a:avLst>
              <a:gd name="adj" fmla="val 50000"/>
            </a:avLst>
          </a:prstGeom>
          <a:noFill/>
          <a:ln w="19050" cap="flat" cmpd="sng" algn="ctr">
            <a:solidFill>
              <a:schemeClr val="accent2"/>
            </a:solidFill>
            <a:prstDash val="solid"/>
          </a:ln>
          <a:effectLst/>
        </p:spPr>
        <p:txBody>
          <a:bodyPr wrap="square" lIns="457200" tIns="0" rIns="34359" bIns="0" rtlCol="0" anchor="ctr"/>
          <a:lstStyle/>
          <a:p>
            <a:pPr marL="0" marR="0" lvl="0" indent="0" algn="l" defTabSz="8727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Arial"/>
                <a:sym typeface="Arial"/>
              </a:rPr>
              <a:t>APPROACH</a:t>
            </a:r>
          </a:p>
        </p:txBody>
      </p:sp>
      <p:sp>
        <p:nvSpPr>
          <p:cNvPr id="4" name="Oval 20">
            <a:extLst>
              <a:ext uri="{FF2B5EF4-FFF2-40B4-BE49-F238E27FC236}">
                <a16:creationId xmlns:a16="http://schemas.microsoft.com/office/drawing/2014/main" id="{0E7EF0F5-CAAE-EFE0-9D92-A2E804F144CE}"/>
              </a:ext>
            </a:extLst>
          </p:cNvPr>
          <p:cNvSpPr/>
          <p:nvPr/>
        </p:nvSpPr>
        <p:spPr>
          <a:xfrm>
            <a:off x="4307093" y="2352550"/>
            <a:ext cx="517152" cy="578838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chemeClr val="accent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 panose="020B0504030602030204" pitchFamily="34" charset="0"/>
              <a:ea typeface="+mn-ea"/>
              <a:cs typeface="Arial"/>
              <a:sym typeface="Arial"/>
            </a:endParaRPr>
          </a:p>
        </p:txBody>
      </p:sp>
      <p:sp>
        <p:nvSpPr>
          <p:cNvPr id="5" name="Rectangle: Rounded Corners 47">
            <a:extLst>
              <a:ext uri="{FF2B5EF4-FFF2-40B4-BE49-F238E27FC236}">
                <a16:creationId xmlns:a16="http://schemas.microsoft.com/office/drawing/2014/main" id="{5F3C7C6D-61D7-0643-7E72-E0E33E5B81F3}"/>
              </a:ext>
            </a:extLst>
          </p:cNvPr>
          <p:cNvSpPr/>
          <p:nvPr/>
        </p:nvSpPr>
        <p:spPr>
          <a:xfrm>
            <a:off x="352064" y="994802"/>
            <a:ext cx="11602654" cy="550716"/>
          </a:xfrm>
          <a:prstGeom prst="roundRect">
            <a:avLst>
              <a:gd name="adj" fmla="val 9399"/>
            </a:avLst>
          </a:prstGeom>
          <a:gradFill flip="none" rotWithShape="1">
            <a:gsLst>
              <a:gs pos="13000">
                <a:srgbClr val="272936">
                  <a:alpha val="70000"/>
                </a:srgbClr>
              </a:gs>
              <a:gs pos="100000">
                <a:srgbClr val="0070AD">
                  <a:alpha val="15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Gen AI-Powered Automation of Scientific Literature Review, Sub-Question Planning &amp; Insight Extraction</a:t>
            </a:r>
          </a:p>
        </p:txBody>
      </p:sp>
      <p:sp>
        <p:nvSpPr>
          <p:cNvPr id="6" name="Rectangle: Rounded Corners 47">
            <a:extLst>
              <a:ext uri="{FF2B5EF4-FFF2-40B4-BE49-F238E27FC236}">
                <a16:creationId xmlns:a16="http://schemas.microsoft.com/office/drawing/2014/main" id="{F978FDEC-879C-0478-4679-F679E6B6EDF5}"/>
              </a:ext>
            </a:extLst>
          </p:cNvPr>
          <p:cNvSpPr/>
          <p:nvPr/>
        </p:nvSpPr>
        <p:spPr>
          <a:xfrm>
            <a:off x="380999" y="1677176"/>
            <a:ext cx="11506201" cy="462425"/>
          </a:xfrm>
          <a:prstGeom prst="roundRect">
            <a:avLst>
              <a:gd name="adj" fmla="val 9399"/>
            </a:avLst>
          </a:prstGeom>
          <a:gradFill flip="none" rotWithShape="1">
            <a:gsLst>
              <a:gs pos="13000">
                <a:srgbClr val="272936">
                  <a:alpha val="70000"/>
                </a:srgbClr>
              </a:gs>
              <a:gs pos="100000">
                <a:srgbClr val="0070AD">
                  <a:alpha val="15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160AF6C7-C77B-3510-EC66-C240B06C949D}"/>
              </a:ext>
            </a:extLst>
          </p:cNvPr>
          <p:cNvSpPr txBox="1">
            <a:spLocks/>
          </p:cNvSpPr>
          <p:nvPr/>
        </p:nvSpPr>
        <p:spPr>
          <a:xfrm>
            <a:off x="8077202" y="1652933"/>
            <a:ext cx="4187641" cy="551143"/>
          </a:xfrm>
          <a:prstGeom prst="rect">
            <a:avLst/>
          </a:prstGeom>
        </p:spPr>
        <p:txBody>
          <a:bodyPr lIns="91440" tIns="45720" rIns="91440" bIns="4572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Business Function: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R&amp;D, Medical Writing, Regulatory Surveillance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Calibri"/>
              <a:cs typeface="Calibri"/>
            </a:endParaRP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12B35526-0737-AA15-ED3E-D419FE22F172}"/>
              </a:ext>
            </a:extLst>
          </p:cNvPr>
          <p:cNvSpPr txBox="1">
            <a:spLocks/>
          </p:cNvSpPr>
          <p:nvPr/>
        </p:nvSpPr>
        <p:spPr>
          <a:xfrm>
            <a:off x="4535804" y="1642319"/>
            <a:ext cx="2739140" cy="525631"/>
          </a:xfrm>
          <a:prstGeom prst="rect">
            <a:avLst/>
          </a:prstGeom>
        </p:spPr>
        <p:txBody>
          <a:bodyPr lIns="91440" tIns="45720" rIns="91440" bIns="4572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Industry: 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harmaceuticals &amp; Life Sciences</a:t>
            </a: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52F21B22-3403-844C-8302-CC3372E3E331}"/>
              </a:ext>
            </a:extLst>
          </p:cNvPr>
          <p:cNvSpPr txBox="1">
            <a:spLocks/>
          </p:cNvSpPr>
          <p:nvPr/>
        </p:nvSpPr>
        <p:spPr>
          <a:xfrm>
            <a:off x="602192" y="1642319"/>
            <a:ext cx="3776920" cy="294771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echnology: 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Graph-Based RAG + Gen AI Agents</a:t>
            </a:r>
          </a:p>
        </p:txBody>
      </p:sp>
      <p:sp>
        <p:nvSpPr>
          <p:cNvPr id="10" name="Rectangle: Rounded Corners 47">
            <a:extLst>
              <a:ext uri="{FF2B5EF4-FFF2-40B4-BE49-F238E27FC236}">
                <a16:creationId xmlns:a16="http://schemas.microsoft.com/office/drawing/2014/main" id="{132581B6-7791-54C6-64AD-71D08867BD46}"/>
              </a:ext>
            </a:extLst>
          </p:cNvPr>
          <p:cNvSpPr/>
          <p:nvPr/>
        </p:nvSpPr>
        <p:spPr>
          <a:xfrm>
            <a:off x="353504" y="2182210"/>
            <a:ext cx="3761296" cy="4280440"/>
          </a:xfrm>
          <a:prstGeom prst="roundRect">
            <a:avLst>
              <a:gd name="adj" fmla="val 9399"/>
            </a:avLst>
          </a:prstGeom>
          <a:gradFill flip="none" rotWithShape="1">
            <a:gsLst>
              <a:gs pos="13000">
                <a:srgbClr val="272936">
                  <a:alpha val="70000"/>
                </a:srgbClr>
              </a:gs>
              <a:gs pos="100000">
                <a:srgbClr val="0070AD">
                  <a:alpha val="15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1" name="Rounded Rectangle 75">
            <a:extLst>
              <a:ext uri="{FF2B5EF4-FFF2-40B4-BE49-F238E27FC236}">
                <a16:creationId xmlns:a16="http://schemas.microsoft.com/office/drawing/2014/main" id="{FED2541B-6E8C-613C-EFEC-E7648224640B}"/>
              </a:ext>
            </a:extLst>
          </p:cNvPr>
          <p:cNvSpPr/>
          <p:nvPr/>
        </p:nvSpPr>
        <p:spPr>
          <a:xfrm>
            <a:off x="1038471" y="2449050"/>
            <a:ext cx="2611668" cy="309683"/>
          </a:xfrm>
          <a:prstGeom prst="roundRect">
            <a:avLst>
              <a:gd name="adj" fmla="val 50000"/>
            </a:avLst>
          </a:prstGeom>
          <a:noFill/>
          <a:ln w="19050" cap="flat" cmpd="sng" algn="ctr">
            <a:solidFill>
              <a:schemeClr val="accent1"/>
            </a:solidFill>
            <a:prstDash val="solid"/>
          </a:ln>
          <a:effectLst/>
        </p:spPr>
        <p:txBody>
          <a:bodyPr wrap="square" lIns="457200" tIns="0" rIns="34359" bIns="0" rtlCol="0" anchor="ctr"/>
          <a:lstStyle/>
          <a:p>
            <a:pPr marL="0" marR="0" lvl="0" indent="0" algn="l" defTabSz="8727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>
                <a:ln>
                  <a:noFill/>
                </a:ln>
                <a:solidFill>
                  <a:srgbClr val="0070AD"/>
                </a:solidFill>
                <a:effectLst/>
                <a:uLnTx/>
                <a:uFillTx/>
                <a:latin typeface="Ubuntu"/>
                <a:ea typeface="+mn-ea"/>
                <a:cs typeface="Arial"/>
                <a:sym typeface="Arial"/>
              </a:rPr>
              <a:t>BACKGROUND</a:t>
            </a:r>
          </a:p>
        </p:txBody>
      </p:sp>
      <p:sp>
        <p:nvSpPr>
          <p:cNvPr id="12" name="Oval 20">
            <a:extLst>
              <a:ext uri="{FF2B5EF4-FFF2-40B4-BE49-F238E27FC236}">
                <a16:creationId xmlns:a16="http://schemas.microsoft.com/office/drawing/2014/main" id="{B9E2E71F-2624-B344-8C5D-D0B08FA30BFF}"/>
              </a:ext>
            </a:extLst>
          </p:cNvPr>
          <p:cNvSpPr/>
          <p:nvPr/>
        </p:nvSpPr>
        <p:spPr>
          <a:xfrm>
            <a:off x="700645" y="2294463"/>
            <a:ext cx="580690" cy="628559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 panose="020B0504030602030204" pitchFamily="34" charset="0"/>
              <a:ea typeface="+mn-ea"/>
              <a:cs typeface="Arial"/>
              <a:sym typeface="Arial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2251882-F974-BABA-2AAC-5BB381AB61F8}"/>
              </a:ext>
            </a:extLst>
          </p:cNvPr>
          <p:cNvSpPr txBox="1"/>
          <p:nvPr/>
        </p:nvSpPr>
        <p:spPr>
          <a:xfrm>
            <a:off x="505206" y="3055019"/>
            <a:ext cx="3380994" cy="246221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Manual, slow review of biomedical papers and regulatory guidelines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High risk of missing critical clinical, safety, or regulatory updates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Repetitive research and summarization tasks for medical writers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Lack of a centralized tool for generating accurate, evidence-backed insights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Difficulty in handling vague or broad queries from stakeholders.</a:t>
            </a:r>
          </a:p>
        </p:txBody>
      </p:sp>
      <p:grpSp>
        <p:nvGrpSpPr>
          <p:cNvPr id="14" name="Group 1">
            <a:extLst>
              <a:ext uri="{FF2B5EF4-FFF2-40B4-BE49-F238E27FC236}">
                <a16:creationId xmlns:a16="http://schemas.microsoft.com/office/drawing/2014/main" id="{11A4AB7F-BDCC-B3AA-FC99-9C81FA585FB0}"/>
              </a:ext>
            </a:extLst>
          </p:cNvPr>
          <p:cNvGrpSpPr/>
          <p:nvPr/>
        </p:nvGrpSpPr>
        <p:grpSpPr>
          <a:xfrm>
            <a:off x="802668" y="2424234"/>
            <a:ext cx="376643" cy="379248"/>
            <a:chOff x="675463" y="2492078"/>
            <a:chExt cx="677221" cy="595216"/>
          </a:xfrm>
          <a:solidFill>
            <a:schemeClr val="bg1"/>
          </a:solidFill>
        </p:grpSpPr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F28D6B9F-C077-AA20-D711-67118FEFC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216" y="2492078"/>
              <a:ext cx="209519" cy="225289"/>
            </a:xfrm>
            <a:custGeom>
              <a:avLst/>
              <a:gdLst>
                <a:gd name="T0" fmla="*/ 71 w 174"/>
                <a:gd name="T1" fmla="*/ 178 h 187"/>
                <a:gd name="T2" fmla="*/ 8 w 174"/>
                <a:gd name="T3" fmla="*/ 78 h 187"/>
                <a:gd name="T4" fmla="*/ 98 w 174"/>
                <a:gd name="T5" fmla="*/ 9 h 187"/>
                <a:gd name="T6" fmla="*/ 167 w 174"/>
                <a:gd name="T7" fmla="*/ 110 h 187"/>
                <a:gd name="T8" fmla="*/ 71 w 174"/>
                <a:gd name="T9" fmla="*/ 178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4" h="187">
                  <a:moveTo>
                    <a:pt x="71" y="178"/>
                  </a:moveTo>
                  <a:cubicBezTo>
                    <a:pt x="26" y="169"/>
                    <a:pt x="0" y="125"/>
                    <a:pt x="8" y="78"/>
                  </a:cubicBezTo>
                  <a:cubicBezTo>
                    <a:pt x="15" y="31"/>
                    <a:pt x="53" y="0"/>
                    <a:pt x="98" y="9"/>
                  </a:cubicBezTo>
                  <a:cubicBezTo>
                    <a:pt x="144" y="18"/>
                    <a:pt x="174" y="63"/>
                    <a:pt x="167" y="110"/>
                  </a:cubicBezTo>
                  <a:cubicBezTo>
                    <a:pt x="159" y="157"/>
                    <a:pt x="116" y="187"/>
                    <a:pt x="71" y="17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Arial"/>
                <a:sym typeface="Arial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A8FBEBD3-DDB5-18FB-7B49-7AD18C077EB4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463" y="2735391"/>
              <a:ext cx="369926" cy="244665"/>
            </a:xfrm>
            <a:custGeom>
              <a:avLst/>
              <a:gdLst>
                <a:gd name="T0" fmla="*/ 49 w 307"/>
                <a:gd name="T1" fmla="*/ 182 h 203"/>
                <a:gd name="T2" fmla="*/ 8 w 307"/>
                <a:gd name="T3" fmla="*/ 118 h 203"/>
                <a:gd name="T4" fmla="*/ 192 w 307"/>
                <a:gd name="T5" fmla="*/ 23 h 203"/>
                <a:gd name="T6" fmla="*/ 303 w 307"/>
                <a:gd name="T7" fmla="*/ 135 h 203"/>
                <a:gd name="T8" fmla="*/ 307 w 307"/>
                <a:gd name="T9" fmla="*/ 172 h 203"/>
                <a:gd name="T10" fmla="*/ 49 w 307"/>
                <a:gd name="T11" fmla="*/ 182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7" h="203">
                  <a:moveTo>
                    <a:pt x="49" y="182"/>
                  </a:moveTo>
                  <a:cubicBezTo>
                    <a:pt x="19" y="177"/>
                    <a:pt x="0" y="148"/>
                    <a:pt x="8" y="118"/>
                  </a:cubicBezTo>
                  <a:cubicBezTo>
                    <a:pt x="24" y="58"/>
                    <a:pt x="85" y="0"/>
                    <a:pt x="192" y="23"/>
                  </a:cubicBezTo>
                  <a:cubicBezTo>
                    <a:pt x="246" y="35"/>
                    <a:pt x="291" y="79"/>
                    <a:pt x="303" y="135"/>
                  </a:cubicBezTo>
                  <a:cubicBezTo>
                    <a:pt x="306" y="148"/>
                    <a:pt x="307" y="160"/>
                    <a:pt x="307" y="172"/>
                  </a:cubicBezTo>
                  <a:cubicBezTo>
                    <a:pt x="236" y="169"/>
                    <a:pt x="168" y="203"/>
                    <a:pt x="49" y="18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Arial"/>
                <a:sym typeface="Arial"/>
              </a:endParaRPr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4FFFB9CE-EBEA-F507-B804-821BCD2FBE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47" y="2510101"/>
              <a:ext cx="237455" cy="256831"/>
            </a:xfrm>
            <a:custGeom>
              <a:avLst/>
              <a:gdLst>
                <a:gd name="T0" fmla="*/ 105 w 197"/>
                <a:gd name="T1" fmla="*/ 209 h 213"/>
                <a:gd name="T2" fmla="*/ 196 w 197"/>
                <a:gd name="T3" fmla="*/ 100 h 213"/>
                <a:gd name="T4" fmla="*/ 99 w 197"/>
                <a:gd name="T5" fmla="*/ 4 h 213"/>
                <a:gd name="T6" fmla="*/ 2 w 197"/>
                <a:gd name="T7" fmla="*/ 113 h 213"/>
                <a:gd name="T8" fmla="*/ 105 w 197"/>
                <a:gd name="T9" fmla="*/ 209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7" h="213">
                  <a:moveTo>
                    <a:pt x="105" y="209"/>
                  </a:moveTo>
                  <a:cubicBezTo>
                    <a:pt x="160" y="205"/>
                    <a:pt x="197" y="156"/>
                    <a:pt x="196" y="100"/>
                  </a:cubicBezTo>
                  <a:cubicBezTo>
                    <a:pt x="194" y="43"/>
                    <a:pt x="154" y="0"/>
                    <a:pt x="99" y="4"/>
                  </a:cubicBezTo>
                  <a:cubicBezTo>
                    <a:pt x="44" y="8"/>
                    <a:pt x="0" y="57"/>
                    <a:pt x="2" y="113"/>
                  </a:cubicBezTo>
                  <a:cubicBezTo>
                    <a:pt x="3" y="170"/>
                    <a:pt x="50" y="213"/>
                    <a:pt x="105" y="20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Arial"/>
                <a:sym typeface="Arial"/>
              </a:endParaRPr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D03A5CD4-4016-0D61-5BA4-2BD3B3E0F55A}"/>
                </a:ext>
              </a:extLst>
            </p:cNvPr>
            <p:cNvSpPr>
              <a:spLocks/>
            </p:cNvSpPr>
            <p:nvPr/>
          </p:nvSpPr>
          <p:spPr bwMode="auto">
            <a:xfrm>
              <a:off x="908413" y="2795769"/>
              <a:ext cx="444271" cy="291525"/>
            </a:xfrm>
            <a:custGeom>
              <a:avLst/>
              <a:gdLst>
                <a:gd name="T0" fmla="*/ 1 w 369"/>
                <a:gd name="T1" fmla="*/ 207 h 242"/>
                <a:gd name="T2" fmla="*/ 5 w 369"/>
                <a:gd name="T3" fmla="*/ 162 h 242"/>
                <a:gd name="T4" fmla="*/ 137 w 369"/>
                <a:gd name="T5" fmla="*/ 28 h 242"/>
                <a:gd name="T6" fmla="*/ 356 w 369"/>
                <a:gd name="T7" fmla="*/ 131 h 242"/>
                <a:gd name="T8" fmla="*/ 304 w 369"/>
                <a:gd name="T9" fmla="*/ 218 h 242"/>
                <a:gd name="T10" fmla="*/ 1 w 369"/>
                <a:gd name="T11" fmla="*/ 207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9" h="242">
                  <a:moveTo>
                    <a:pt x="1" y="207"/>
                  </a:moveTo>
                  <a:cubicBezTo>
                    <a:pt x="0" y="193"/>
                    <a:pt x="2" y="178"/>
                    <a:pt x="5" y="162"/>
                  </a:cubicBezTo>
                  <a:cubicBezTo>
                    <a:pt x="20" y="95"/>
                    <a:pt x="72" y="42"/>
                    <a:pt x="137" y="28"/>
                  </a:cubicBezTo>
                  <a:cubicBezTo>
                    <a:pt x="260" y="0"/>
                    <a:pt x="333" y="62"/>
                    <a:pt x="356" y="131"/>
                  </a:cubicBezTo>
                  <a:cubicBezTo>
                    <a:pt x="369" y="170"/>
                    <a:pt x="344" y="212"/>
                    <a:pt x="304" y="218"/>
                  </a:cubicBezTo>
                  <a:cubicBezTo>
                    <a:pt x="165" y="242"/>
                    <a:pt x="85" y="203"/>
                    <a:pt x="1" y="20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19" name="Rectangle: Rounded Corners 47">
            <a:extLst>
              <a:ext uri="{FF2B5EF4-FFF2-40B4-BE49-F238E27FC236}">
                <a16:creationId xmlns:a16="http://schemas.microsoft.com/office/drawing/2014/main" id="{9D6E869F-176D-0C20-E31D-24E8C1014B1C}"/>
              </a:ext>
            </a:extLst>
          </p:cNvPr>
          <p:cNvSpPr/>
          <p:nvPr/>
        </p:nvSpPr>
        <p:spPr>
          <a:xfrm>
            <a:off x="4249031" y="2195717"/>
            <a:ext cx="3761296" cy="4280440"/>
          </a:xfrm>
          <a:prstGeom prst="roundRect">
            <a:avLst>
              <a:gd name="adj" fmla="val 9399"/>
            </a:avLst>
          </a:prstGeom>
          <a:gradFill flip="none" rotWithShape="1">
            <a:gsLst>
              <a:gs pos="13000">
                <a:srgbClr val="272936">
                  <a:alpha val="70000"/>
                </a:srgbClr>
              </a:gs>
              <a:gs pos="100000">
                <a:srgbClr val="0070AD">
                  <a:alpha val="15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83C4E18-ED1F-E87A-C02B-DE754AA5017F}"/>
              </a:ext>
            </a:extLst>
          </p:cNvPr>
          <p:cNvGrpSpPr/>
          <p:nvPr/>
        </p:nvGrpSpPr>
        <p:grpSpPr>
          <a:xfrm>
            <a:off x="4379112" y="2402678"/>
            <a:ext cx="332151" cy="410151"/>
            <a:chOff x="-1295400" y="3870325"/>
            <a:chExt cx="561975" cy="585787"/>
          </a:xfrm>
          <a:solidFill>
            <a:schemeClr val="bg1"/>
          </a:solidFill>
        </p:grpSpPr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C577E90E-48B2-06F4-F7B1-EBD65ED21AE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59736" y="4007560"/>
              <a:ext cx="289786" cy="337428"/>
            </a:xfrm>
            <a:custGeom>
              <a:avLst/>
              <a:gdLst>
                <a:gd name="T0" fmla="*/ 768 w 768"/>
                <a:gd name="T1" fmla="*/ 385 h 895"/>
                <a:gd name="T2" fmla="*/ 661 w 768"/>
                <a:gd name="T3" fmla="*/ 650 h 895"/>
                <a:gd name="T4" fmla="*/ 567 w 768"/>
                <a:gd name="T5" fmla="*/ 841 h 895"/>
                <a:gd name="T6" fmla="*/ 504 w 768"/>
                <a:gd name="T7" fmla="*/ 895 h 895"/>
                <a:gd name="T8" fmla="*/ 266 w 768"/>
                <a:gd name="T9" fmla="*/ 895 h 895"/>
                <a:gd name="T10" fmla="*/ 204 w 768"/>
                <a:gd name="T11" fmla="*/ 842 h 895"/>
                <a:gd name="T12" fmla="*/ 109 w 768"/>
                <a:gd name="T13" fmla="*/ 650 h 895"/>
                <a:gd name="T14" fmla="*/ 2 w 768"/>
                <a:gd name="T15" fmla="*/ 389 h 895"/>
                <a:gd name="T16" fmla="*/ 383 w 768"/>
                <a:gd name="T17" fmla="*/ 2 h 895"/>
                <a:gd name="T18" fmla="*/ 768 w 768"/>
                <a:gd name="T19" fmla="*/ 385 h 895"/>
                <a:gd name="connsiteX0" fmla="*/ 9975 w 9975"/>
                <a:gd name="connsiteY0" fmla="*/ 4281 h 9979"/>
                <a:gd name="connsiteX1" fmla="*/ 8582 w 9975"/>
                <a:gd name="connsiteY1" fmla="*/ 7242 h 9979"/>
                <a:gd name="connsiteX2" fmla="*/ 7358 w 9975"/>
                <a:gd name="connsiteY2" fmla="*/ 9376 h 9979"/>
                <a:gd name="connsiteX3" fmla="*/ 6538 w 9975"/>
                <a:gd name="connsiteY3" fmla="*/ 9979 h 9979"/>
                <a:gd name="connsiteX4" fmla="*/ 3439 w 9975"/>
                <a:gd name="connsiteY4" fmla="*/ 9979 h 9979"/>
                <a:gd name="connsiteX5" fmla="*/ 2631 w 9975"/>
                <a:gd name="connsiteY5" fmla="*/ 9387 h 9979"/>
                <a:gd name="connsiteX6" fmla="*/ 1394 w 9975"/>
                <a:gd name="connsiteY6" fmla="*/ 7242 h 9979"/>
                <a:gd name="connsiteX7" fmla="*/ 1 w 9975"/>
                <a:gd name="connsiteY7" fmla="*/ 4325 h 9979"/>
                <a:gd name="connsiteX8" fmla="*/ 4962 w 9975"/>
                <a:gd name="connsiteY8" fmla="*/ 1 h 9979"/>
                <a:gd name="connsiteX9" fmla="*/ 9975 w 9975"/>
                <a:gd name="connsiteY9" fmla="*/ 4281 h 9979"/>
                <a:gd name="connsiteX0" fmla="*/ 10000 w 10000"/>
                <a:gd name="connsiteY0" fmla="*/ 4290 h 10000"/>
                <a:gd name="connsiteX1" fmla="*/ 8604 w 10000"/>
                <a:gd name="connsiteY1" fmla="*/ 7257 h 10000"/>
                <a:gd name="connsiteX2" fmla="*/ 7376 w 10000"/>
                <a:gd name="connsiteY2" fmla="*/ 9396 h 10000"/>
                <a:gd name="connsiteX3" fmla="*/ 6554 w 10000"/>
                <a:gd name="connsiteY3" fmla="*/ 10000 h 10000"/>
                <a:gd name="connsiteX4" fmla="*/ 3448 w 10000"/>
                <a:gd name="connsiteY4" fmla="*/ 10000 h 10000"/>
                <a:gd name="connsiteX5" fmla="*/ 2638 w 10000"/>
                <a:gd name="connsiteY5" fmla="*/ 9407 h 10000"/>
                <a:gd name="connsiteX6" fmla="*/ 1397 w 10000"/>
                <a:gd name="connsiteY6" fmla="*/ 7257 h 10000"/>
                <a:gd name="connsiteX7" fmla="*/ 1 w 10000"/>
                <a:gd name="connsiteY7" fmla="*/ 4334 h 10000"/>
                <a:gd name="connsiteX8" fmla="*/ 4974 w 10000"/>
                <a:gd name="connsiteY8" fmla="*/ 1 h 10000"/>
                <a:gd name="connsiteX9" fmla="*/ 10000 w 10000"/>
                <a:gd name="connsiteY9" fmla="*/ 4290 h 10000"/>
                <a:gd name="connsiteX0" fmla="*/ 10000 w 10000"/>
                <a:gd name="connsiteY0" fmla="*/ 4290 h 10000"/>
                <a:gd name="connsiteX1" fmla="*/ 8604 w 10000"/>
                <a:gd name="connsiteY1" fmla="*/ 7257 h 10000"/>
                <a:gd name="connsiteX2" fmla="*/ 7376 w 10000"/>
                <a:gd name="connsiteY2" fmla="*/ 9396 h 10000"/>
                <a:gd name="connsiteX3" fmla="*/ 6554 w 10000"/>
                <a:gd name="connsiteY3" fmla="*/ 10000 h 10000"/>
                <a:gd name="connsiteX4" fmla="*/ 3448 w 10000"/>
                <a:gd name="connsiteY4" fmla="*/ 10000 h 10000"/>
                <a:gd name="connsiteX5" fmla="*/ 2638 w 10000"/>
                <a:gd name="connsiteY5" fmla="*/ 9407 h 10000"/>
                <a:gd name="connsiteX6" fmla="*/ 1397 w 10000"/>
                <a:gd name="connsiteY6" fmla="*/ 7257 h 10000"/>
                <a:gd name="connsiteX7" fmla="*/ 1 w 10000"/>
                <a:gd name="connsiteY7" fmla="*/ 4334 h 10000"/>
                <a:gd name="connsiteX8" fmla="*/ 4974 w 10000"/>
                <a:gd name="connsiteY8" fmla="*/ 1 h 10000"/>
                <a:gd name="connsiteX9" fmla="*/ 10000 w 10000"/>
                <a:gd name="connsiteY9" fmla="*/ 429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000" h="10000">
                  <a:moveTo>
                    <a:pt x="10000" y="4290"/>
                  </a:moveTo>
                  <a:cubicBezTo>
                    <a:pt x="10000" y="5443"/>
                    <a:pt x="9465" y="6496"/>
                    <a:pt x="8604" y="7257"/>
                  </a:cubicBezTo>
                  <a:cubicBezTo>
                    <a:pt x="7938" y="7850"/>
                    <a:pt x="7520" y="8600"/>
                    <a:pt x="7376" y="9396"/>
                  </a:cubicBezTo>
                  <a:cubicBezTo>
                    <a:pt x="7311" y="9742"/>
                    <a:pt x="6958" y="10000"/>
                    <a:pt x="6554" y="10000"/>
                  </a:cubicBezTo>
                  <a:cubicBezTo>
                    <a:pt x="5519" y="10000"/>
                    <a:pt x="4483" y="9637"/>
                    <a:pt x="3448" y="10000"/>
                  </a:cubicBezTo>
                  <a:cubicBezTo>
                    <a:pt x="3043" y="10000"/>
                    <a:pt x="2690" y="9742"/>
                    <a:pt x="2638" y="9407"/>
                  </a:cubicBezTo>
                  <a:cubicBezTo>
                    <a:pt x="2494" y="8600"/>
                    <a:pt x="2063" y="7839"/>
                    <a:pt x="1397" y="7257"/>
                  </a:cubicBezTo>
                  <a:cubicBezTo>
                    <a:pt x="549" y="6496"/>
                    <a:pt x="14" y="5465"/>
                    <a:pt x="1" y="4334"/>
                  </a:cubicBezTo>
                  <a:cubicBezTo>
                    <a:pt x="-25" y="1949"/>
                    <a:pt x="2194" y="13"/>
                    <a:pt x="4974" y="1"/>
                  </a:cubicBezTo>
                  <a:cubicBezTo>
                    <a:pt x="7741" y="-21"/>
                    <a:pt x="10000" y="1905"/>
                    <a:pt x="10000" y="42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Arial"/>
                <a:sym typeface="Arial"/>
              </a:endParaRPr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177D916B-DD0A-D5DE-E3A1-EC09FD913C9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19188" y="4048125"/>
              <a:ext cx="120650" cy="120650"/>
            </a:xfrm>
            <a:custGeom>
              <a:avLst/>
              <a:gdLst>
                <a:gd name="T0" fmla="*/ 319 w 319"/>
                <a:gd name="T1" fmla="*/ 44 h 320"/>
                <a:gd name="T2" fmla="*/ 276 w 319"/>
                <a:gd name="T3" fmla="*/ 0 h 320"/>
                <a:gd name="T4" fmla="*/ 0 w 319"/>
                <a:gd name="T5" fmla="*/ 277 h 320"/>
                <a:gd name="T6" fmla="*/ 43 w 319"/>
                <a:gd name="T7" fmla="*/ 320 h 320"/>
                <a:gd name="T8" fmla="*/ 86 w 319"/>
                <a:gd name="T9" fmla="*/ 277 h 320"/>
                <a:gd name="T10" fmla="*/ 276 w 319"/>
                <a:gd name="T11" fmla="*/ 87 h 320"/>
                <a:gd name="T12" fmla="*/ 319 w 319"/>
                <a:gd name="T13" fmla="*/ 44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9" h="320">
                  <a:moveTo>
                    <a:pt x="319" y="44"/>
                  </a:moveTo>
                  <a:cubicBezTo>
                    <a:pt x="319" y="20"/>
                    <a:pt x="300" y="0"/>
                    <a:pt x="276" y="0"/>
                  </a:cubicBezTo>
                  <a:cubicBezTo>
                    <a:pt x="124" y="0"/>
                    <a:pt x="0" y="124"/>
                    <a:pt x="0" y="277"/>
                  </a:cubicBezTo>
                  <a:cubicBezTo>
                    <a:pt x="0" y="301"/>
                    <a:pt x="19" y="320"/>
                    <a:pt x="43" y="320"/>
                  </a:cubicBezTo>
                  <a:cubicBezTo>
                    <a:pt x="67" y="320"/>
                    <a:pt x="86" y="301"/>
                    <a:pt x="86" y="277"/>
                  </a:cubicBezTo>
                  <a:cubicBezTo>
                    <a:pt x="86" y="172"/>
                    <a:pt x="172" y="87"/>
                    <a:pt x="276" y="87"/>
                  </a:cubicBezTo>
                  <a:cubicBezTo>
                    <a:pt x="300" y="87"/>
                    <a:pt x="319" y="68"/>
                    <a:pt x="319" y="4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Arial"/>
                <a:sym typeface="Arial"/>
              </a:endParaRPr>
            </a:p>
          </p:txBody>
        </p:sp>
        <p:sp>
          <p:nvSpPr>
            <p:cNvPr id="23" name="Freeform 12">
              <a:extLst>
                <a:ext uri="{FF2B5EF4-FFF2-40B4-BE49-F238E27FC236}">
                  <a16:creationId xmlns:a16="http://schemas.microsoft.com/office/drawing/2014/main" id="{8EAAA816-89BE-F6B1-235C-5DDE099116D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30288" y="3870325"/>
              <a:ext cx="31750" cy="90488"/>
            </a:xfrm>
            <a:custGeom>
              <a:avLst/>
              <a:gdLst>
                <a:gd name="T0" fmla="*/ 43 w 86"/>
                <a:gd name="T1" fmla="*/ 238 h 238"/>
                <a:gd name="T2" fmla="*/ 86 w 86"/>
                <a:gd name="T3" fmla="*/ 195 h 238"/>
                <a:gd name="T4" fmla="*/ 86 w 86"/>
                <a:gd name="T5" fmla="*/ 43 h 238"/>
                <a:gd name="T6" fmla="*/ 43 w 86"/>
                <a:gd name="T7" fmla="*/ 0 h 238"/>
                <a:gd name="T8" fmla="*/ 0 w 86"/>
                <a:gd name="T9" fmla="*/ 43 h 238"/>
                <a:gd name="T10" fmla="*/ 0 w 86"/>
                <a:gd name="T11" fmla="*/ 195 h 238"/>
                <a:gd name="T12" fmla="*/ 43 w 86"/>
                <a:gd name="T13" fmla="*/ 238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238">
                  <a:moveTo>
                    <a:pt x="43" y="238"/>
                  </a:moveTo>
                  <a:cubicBezTo>
                    <a:pt x="67" y="238"/>
                    <a:pt x="86" y="219"/>
                    <a:pt x="86" y="195"/>
                  </a:cubicBezTo>
                  <a:cubicBezTo>
                    <a:pt x="86" y="43"/>
                    <a:pt x="86" y="43"/>
                    <a:pt x="86" y="43"/>
                  </a:cubicBezTo>
                  <a:cubicBezTo>
                    <a:pt x="86" y="20"/>
                    <a:pt x="67" y="0"/>
                    <a:pt x="43" y="0"/>
                  </a:cubicBezTo>
                  <a:cubicBezTo>
                    <a:pt x="19" y="0"/>
                    <a:pt x="0" y="19"/>
                    <a:pt x="0" y="43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0" y="219"/>
                    <a:pt x="20" y="238"/>
                    <a:pt x="43" y="2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Arial"/>
                <a:sym typeface="Arial"/>
              </a:endParaRPr>
            </a:p>
          </p:txBody>
        </p:sp>
        <p:sp>
          <p:nvSpPr>
            <p:cNvPr id="24" name="Freeform 13">
              <a:extLst>
                <a:ext uri="{FF2B5EF4-FFF2-40B4-BE49-F238E27FC236}">
                  <a16:creationId xmlns:a16="http://schemas.microsoft.com/office/drawing/2014/main" id="{D8E48E70-1631-8D17-FF41-BE87E7C06EC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95400" y="4135438"/>
              <a:ext cx="88900" cy="31750"/>
            </a:xfrm>
            <a:custGeom>
              <a:avLst/>
              <a:gdLst>
                <a:gd name="T0" fmla="*/ 238 w 238"/>
                <a:gd name="T1" fmla="*/ 43 h 86"/>
                <a:gd name="T2" fmla="*/ 195 w 238"/>
                <a:gd name="T3" fmla="*/ 0 h 86"/>
                <a:gd name="T4" fmla="*/ 43 w 238"/>
                <a:gd name="T5" fmla="*/ 0 h 86"/>
                <a:gd name="T6" fmla="*/ 0 w 238"/>
                <a:gd name="T7" fmla="*/ 43 h 86"/>
                <a:gd name="T8" fmla="*/ 43 w 238"/>
                <a:gd name="T9" fmla="*/ 86 h 86"/>
                <a:gd name="T10" fmla="*/ 195 w 238"/>
                <a:gd name="T11" fmla="*/ 86 h 86"/>
                <a:gd name="T12" fmla="*/ 238 w 238"/>
                <a:gd name="T13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8" h="86">
                  <a:moveTo>
                    <a:pt x="238" y="43"/>
                  </a:moveTo>
                  <a:cubicBezTo>
                    <a:pt x="238" y="20"/>
                    <a:pt x="219" y="0"/>
                    <a:pt x="195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20" y="0"/>
                    <a:pt x="0" y="19"/>
                    <a:pt x="0" y="43"/>
                  </a:cubicBezTo>
                  <a:cubicBezTo>
                    <a:pt x="0" y="67"/>
                    <a:pt x="19" y="86"/>
                    <a:pt x="43" y="86"/>
                  </a:cubicBezTo>
                  <a:cubicBezTo>
                    <a:pt x="195" y="86"/>
                    <a:pt x="195" y="86"/>
                    <a:pt x="195" y="86"/>
                  </a:cubicBezTo>
                  <a:cubicBezTo>
                    <a:pt x="219" y="86"/>
                    <a:pt x="238" y="67"/>
                    <a:pt x="23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Arial"/>
                <a:sym typeface="Arial"/>
              </a:endParaRPr>
            </a:p>
          </p:txBody>
        </p:sp>
        <p:sp>
          <p:nvSpPr>
            <p:cNvPr id="25" name="Freeform 14">
              <a:extLst>
                <a:ext uri="{FF2B5EF4-FFF2-40B4-BE49-F238E27FC236}">
                  <a16:creationId xmlns:a16="http://schemas.microsoft.com/office/drawing/2014/main" id="{36A77B40-D476-E97E-9450-9633B94FECEF}"/>
                </a:ext>
              </a:extLst>
            </p:cNvPr>
            <p:cNvSpPr>
              <a:spLocks/>
            </p:cNvSpPr>
            <p:nvPr/>
          </p:nvSpPr>
          <p:spPr bwMode="auto">
            <a:xfrm>
              <a:off x="-822325" y="4135438"/>
              <a:ext cx="88900" cy="31750"/>
            </a:xfrm>
            <a:custGeom>
              <a:avLst/>
              <a:gdLst>
                <a:gd name="T0" fmla="*/ 194 w 237"/>
                <a:gd name="T1" fmla="*/ 0 h 86"/>
                <a:gd name="T2" fmla="*/ 43 w 237"/>
                <a:gd name="T3" fmla="*/ 0 h 86"/>
                <a:gd name="T4" fmla="*/ 0 w 237"/>
                <a:gd name="T5" fmla="*/ 43 h 86"/>
                <a:gd name="T6" fmla="*/ 43 w 237"/>
                <a:gd name="T7" fmla="*/ 86 h 86"/>
                <a:gd name="T8" fmla="*/ 194 w 237"/>
                <a:gd name="T9" fmla="*/ 86 h 86"/>
                <a:gd name="T10" fmla="*/ 237 w 237"/>
                <a:gd name="T11" fmla="*/ 43 h 86"/>
                <a:gd name="T12" fmla="*/ 194 w 237"/>
                <a:gd name="T13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7" h="86">
                  <a:moveTo>
                    <a:pt x="194" y="0"/>
                  </a:moveTo>
                  <a:cubicBezTo>
                    <a:pt x="43" y="0"/>
                    <a:pt x="43" y="0"/>
                    <a:pt x="43" y="0"/>
                  </a:cubicBezTo>
                  <a:cubicBezTo>
                    <a:pt x="19" y="0"/>
                    <a:pt x="0" y="19"/>
                    <a:pt x="0" y="43"/>
                  </a:cubicBezTo>
                  <a:cubicBezTo>
                    <a:pt x="0" y="67"/>
                    <a:pt x="19" y="86"/>
                    <a:pt x="43" y="86"/>
                  </a:cubicBezTo>
                  <a:cubicBezTo>
                    <a:pt x="194" y="86"/>
                    <a:pt x="194" y="86"/>
                    <a:pt x="194" y="86"/>
                  </a:cubicBezTo>
                  <a:cubicBezTo>
                    <a:pt x="218" y="86"/>
                    <a:pt x="237" y="67"/>
                    <a:pt x="237" y="43"/>
                  </a:cubicBezTo>
                  <a:cubicBezTo>
                    <a:pt x="237" y="20"/>
                    <a:pt x="218" y="0"/>
                    <a:pt x="19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Arial"/>
                <a:sym typeface="Arial"/>
              </a:endParaRPr>
            </a:p>
          </p:txBody>
        </p:sp>
        <p:sp>
          <p:nvSpPr>
            <p:cNvPr id="26" name="Freeform 15">
              <a:extLst>
                <a:ext uri="{FF2B5EF4-FFF2-40B4-BE49-F238E27FC236}">
                  <a16:creationId xmlns:a16="http://schemas.microsoft.com/office/drawing/2014/main" id="{CCD33E4B-AF33-D7B5-A85A-C59BDFADD64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19200" y="4281488"/>
              <a:ext cx="76200" cy="74613"/>
            </a:xfrm>
            <a:custGeom>
              <a:avLst/>
              <a:gdLst>
                <a:gd name="T0" fmla="*/ 124 w 202"/>
                <a:gd name="T1" fmla="*/ 17 h 198"/>
                <a:gd name="T2" fmla="*/ 17 w 202"/>
                <a:gd name="T3" fmla="*/ 124 h 198"/>
                <a:gd name="T4" fmla="*/ 17 w 202"/>
                <a:gd name="T5" fmla="*/ 185 h 198"/>
                <a:gd name="T6" fmla="*/ 47 w 202"/>
                <a:gd name="T7" fmla="*/ 198 h 198"/>
                <a:gd name="T8" fmla="*/ 77 w 202"/>
                <a:gd name="T9" fmla="*/ 185 h 198"/>
                <a:gd name="T10" fmla="*/ 185 w 202"/>
                <a:gd name="T11" fmla="*/ 78 h 198"/>
                <a:gd name="T12" fmla="*/ 185 w 202"/>
                <a:gd name="T13" fmla="*/ 17 h 198"/>
                <a:gd name="T14" fmla="*/ 124 w 202"/>
                <a:gd name="T15" fmla="*/ 17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2" h="198">
                  <a:moveTo>
                    <a:pt x="124" y="17"/>
                  </a:moveTo>
                  <a:cubicBezTo>
                    <a:pt x="17" y="124"/>
                    <a:pt x="17" y="124"/>
                    <a:pt x="17" y="124"/>
                  </a:cubicBezTo>
                  <a:cubicBezTo>
                    <a:pt x="0" y="141"/>
                    <a:pt x="0" y="168"/>
                    <a:pt x="17" y="185"/>
                  </a:cubicBezTo>
                  <a:cubicBezTo>
                    <a:pt x="25" y="194"/>
                    <a:pt x="36" y="198"/>
                    <a:pt x="47" y="198"/>
                  </a:cubicBezTo>
                  <a:cubicBezTo>
                    <a:pt x="58" y="198"/>
                    <a:pt x="69" y="194"/>
                    <a:pt x="77" y="185"/>
                  </a:cubicBezTo>
                  <a:cubicBezTo>
                    <a:pt x="185" y="78"/>
                    <a:pt x="185" y="78"/>
                    <a:pt x="185" y="78"/>
                  </a:cubicBezTo>
                  <a:cubicBezTo>
                    <a:pt x="202" y="61"/>
                    <a:pt x="202" y="34"/>
                    <a:pt x="185" y="17"/>
                  </a:cubicBezTo>
                  <a:cubicBezTo>
                    <a:pt x="168" y="0"/>
                    <a:pt x="140" y="0"/>
                    <a:pt x="124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Arial"/>
                <a:sym typeface="Arial"/>
              </a:endParaRPr>
            </a:p>
          </p:txBody>
        </p:sp>
        <p:sp>
          <p:nvSpPr>
            <p:cNvPr id="27" name="Freeform 16">
              <a:extLst>
                <a:ext uri="{FF2B5EF4-FFF2-40B4-BE49-F238E27FC236}">
                  <a16:creationId xmlns:a16="http://schemas.microsoft.com/office/drawing/2014/main" id="{7F74A63B-4CC9-3AF5-03F6-EE797479FFE9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5825" y="3946525"/>
              <a:ext cx="76200" cy="74613"/>
            </a:xfrm>
            <a:custGeom>
              <a:avLst/>
              <a:gdLst>
                <a:gd name="T0" fmla="*/ 47 w 202"/>
                <a:gd name="T1" fmla="*/ 197 h 197"/>
                <a:gd name="T2" fmla="*/ 78 w 202"/>
                <a:gd name="T3" fmla="*/ 185 h 197"/>
                <a:gd name="T4" fmla="*/ 185 w 202"/>
                <a:gd name="T5" fmla="*/ 78 h 197"/>
                <a:gd name="T6" fmla="*/ 185 w 202"/>
                <a:gd name="T7" fmla="*/ 17 h 197"/>
                <a:gd name="T8" fmla="*/ 124 w 202"/>
                <a:gd name="T9" fmla="*/ 17 h 197"/>
                <a:gd name="T10" fmla="*/ 17 w 202"/>
                <a:gd name="T11" fmla="*/ 124 h 197"/>
                <a:gd name="T12" fmla="*/ 17 w 202"/>
                <a:gd name="T13" fmla="*/ 185 h 197"/>
                <a:gd name="T14" fmla="*/ 47 w 202"/>
                <a:gd name="T15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2" h="197">
                  <a:moveTo>
                    <a:pt x="47" y="197"/>
                  </a:moveTo>
                  <a:cubicBezTo>
                    <a:pt x="58" y="197"/>
                    <a:pt x="69" y="193"/>
                    <a:pt x="78" y="185"/>
                  </a:cubicBezTo>
                  <a:cubicBezTo>
                    <a:pt x="185" y="78"/>
                    <a:pt x="185" y="78"/>
                    <a:pt x="185" y="78"/>
                  </a:cubicBezTo>
                  <a:cubicBezTo>
                    <a:pt x="202" y="61"/>
                    <a:pt x="202" y="34"/>
                    <a:pt x="185" y="17"/>
                  </a:cubicBezTo>
                  <a:cubicBezTo>
                    <a:pt x="168" y="0"/>
                    <a:pt x="141" y="0"/>
                    <a:pt x="124" y="17"/>
                  </a:cubicBezTo>
                  <a:cubicBezTo>
                    <a:pt x="17" y="124"/>
                    <a:pt x="17" y="124"/>
                    <a:pt x="17" y="124"/>
                  </a:cubicBezTo>
                  <a:cubicBezTo>
                    <a:pt x="0" y="141"/>
                    <a:pt x="0" y="168"/>
                    <a:pt x="17" y="185"/>
                  </a:cubicBezTo>
                  <a:cubicBezTo>
                    <a:pt x="25" y="193"/>
                    <a:pt x="36" y="197"/>
                    <a:pt x="47" y="19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Arial"/>
                <a:sym typeface="Arial"/>
              </a:endParaRPr>
            </a:p>
          </p:txBody>
        </p:sp>
        <p:sp>
          <p:nvSpPr>
            <p:cNvPr id="28" name="Freeform 17">
              <a:extLst>
                <a:ext uri="{FF2B5EF4-FFF2-40B4-BE49-F238E27FC236}">
                  <a16:creationId xmlns:a16="http://schemas.microsoft.com/office/drawing/2014/main" id="{619CBB19-B138-7CF4-44A4-9F0CD844C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19200" y="3946525"/>
              <a:ext cx="76200" cy="74613"/>
            </a:xfrm>
            <a:custGeom>
              <a:avLst/>
              <a:gdLst>
                <a:gd name="T0" fmla="*/ 125 w 203"/>
                <a:gd name="T1" fmla="*/ 186 h 198"/>
                <a:gd name="T2" fmla="*/ 155 w 203"/>
                <a:gd name="T3" fmla="*/ 198 h 198"/>
                <a:gd name="T4" fmla="*/ 186 w 203"/>
                <a:gd name="T5" fmla="*/ 186 h 198"/>
                <a:gd name="T6" fmla="*/ 186 w 203"/>
                <a:gd name="T7" fmla="*/ 124 h 198"/>
                <a:gd name="T8" fmla="*/ 78 w 203"/>
                <a:gd name="T9" fmla="*/ 17 h 198"/>
                <a:gd name="T10" fmla="*/ 17 w 203"/>
                <a:gd name="T11" fmla="*/ 17 h 198"/>
                <a:gd name="T12" fmla="*/ 17 w 203"/>
                <a:gd name="T13" fmla="*/ 78 h 198"/>
                <a:gd name="T14" fmla="*/ 125 w 203"/>
                <a:gd name="T15" fmla="*/ 186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3" h="198">
                  <a:moveTo>
                    <a:pt x="125" y="186"/>
                  </a:moveTo>
                  <a:cubicBezTo>
                    <a:pt x="133" y="194"/>
                    <a:pt x="144" y="198"/>
                    <a:pt x="155" y="198"/>
                  </a:cubicBezTo>
                  <a:cubicBezTo>
                    <a:pt x="166" y="198"/>
                    <a:pt x="177" y="194"/>
                    <a:pt x="186" y="186"/>
                  </a:cubicBezTo>
                  <a:cubicBezTo>
                    <a:pt x="203" y="169"/>
                    <a:pt x="203" y="141"/>
                    <a:pt x="186" y="124"/>
                  </a:cubicBezTo>
                  <a:cubicBezTo>
                    <a:pt x="78" y="17"/>
                    <a:pt x="78" y="17"/>
                    <a:pt x="78" y="17"/>
                  </a:cubicBezTo>
                  <a:cubicBezTo>
                    <a:pt x="61" y="0"/>
                    <a:pt x="34" y="0"/>
                    <a:pt x="17" y="17"/>
                  </a:cubicBezTo>
                  <a:cubicBezTo>
                    <a:pt x="0" y="34"/>
                    <a:pt x="0" y="61"/>
                    <a:pt x="17" y="78"/>
                  </a:cubicBezTo>
                  <a:lnTo>
                    <a:pt x="125" y="1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Arial"/>
                <a:sym typeface="Arial"/>
              </a:endParaRPr>
            </a:p>
          </p:txBody>
        </p:sp>
        <p:sp>
          <p:nvSpPr>
            <p:cNvPr id="29" name="Freeform 18">
              <a:extLst>
                <a:ext uri="{FF2B5EF4-FFF2-40B4-BE49-F238E27FC236}">
                  <a16:creationId xmlns:a16="http://schemas.microsoft.com/office/drawing/2014/main" id="{D9DCBEF4-49D4-A62F-6676-4393CC6F7D8C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5825" y="4281488"/>
              <a:ext cx="76200" cy="74613"/>
            </a:xfrm>
            <a:custGeom>
              <a:avLst/>
              <a:gdLst>
                <a:gd name="T0" fmla="*/ 78 w 202"/>
                <a:gd name="T1" fmla="*/ 17 h 198"/>
                <a:gd name="T2" fmla="*/ 17 w 202"/>
                <a:gd name="T3" fmla="*/ 17 h 198"/>
                <a:gd name="T4" fmla="*/ 17 w 202"/>
                <a:gd name="T5" fmla="*/ 78 h 198"/>
                <a:gd name="T6" fmla="*/ 124 w 202"/>
                <a:gd name="T7" fmla="*/ 185 h 198"/>
                <a:gd name="T8" fmla="*/ 154 w 202"/>
                <a:gd name="T9" fmla="*/ 198 h 198"/>
                <a:gd name="T10" fmla="*/ 185 w 202"/>
                <a:gd name="T11" fmla="*/ 185 h 198"/>
                <a:gd name="T12" fmla="*/ 185 w 202"/>
                <a:gd name="T13" fmla="*/ 124 h 198"/>
                <a:gd name="T14" fmla="*/ 78 w 202"/>
                <a:gd name="T15" fmla="*/ 17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2" h="198">
                  <a:moveTo>
                    <a:pt x="78" y="17"/>
                  </a:moveTo>
                  <a:cubicBezTo>
                    <a:pt x="61" y="0"/>
                    <a:pt x="34" y="0"/>
                    <a:pt x="17" y="17"/>
                  </a:cubicBezTo>
                  <a:cubicBezTo>
                    <a:pt x="0" y="34"/>
                    <a:pt x="0" y="61"/>
                    <a:pt x="17" y="78"/>
                  </a:cubicBezTo>
                  <a:cubicBezTo>
                    <a:pt x="124" y="185"/>
                    <a:pt x="124" y="185"/>
                    <a:pt x="124" y="185"/>
                  </a:cubicBezTo>
                  <a:cubicBezTo>
                    <a:pt x="132" y="194"/>
                    <a:pt x="143" y="198"/>
                    <a:pt x="154" y="198"/>
                  </a:cubicBezTo>
                  <a:cubicBezTo>
                    <a:pt x="165" y="198"/>
                    <a:pt x="176" y="194"/>
                    <a:pt x="185" y="185"/>
                  </a:cubicBezTo>
                  <a:cubicBezTo>
                    <a:pt x="202" y="168"/>
                    <a:pt x="202" y="141"/>
                    <a:pt x="185" y="124"/>
                  </a:cubicBezTo>
                  <a:lnTo>
                    <a:pt x="78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Arial"/>
                <a:sym typeface="Arial"/>
              </a:endParaRPr>
            </a:p>
          </p:txBody>
        </p:sp>
        <p:sp>
          <p:nvSpPr>
            <p:cNvPr id="30" name="Line 19">
              <a:extLst>
                <a:ext uri="{FF2B5EF4-FFF2-40B4-BE49-F238E27FC236}">
                  <a16:creationId xmlns:a16="http://schemas.microsoft.com/office/drawing/2014/main" id="{F6AE2284-743C-F3C7-5BA7-16DBB8E753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855663" y="4287838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Arial"/>
                <a:sym typeface="Arial"/>
              </a:endParaRPr>
            </a:p>
          </p:txBody>
        </p:sp>
        <p:sp>
          <p:nvSpPr>
            <p:cNvPr id="31" name="Line 20">
              <a:extLst>
                <a:ext uri="{FF2B5EF4-FFF2-40B4-BE49-F238E27FC236}">
                  <a16:creationId xmlns:a16="http://schemas.microsoft.com/office/drawing/2014/main" id="{08194737-6045-8893-4055-FDD7B6E20C4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855663" y="4287838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Arial"/>
                <a:sym typeface="Arial"/>
              </a:endParaRPr>
            </a:p>
          </p:txBody>
        </p:sp>
        <p:sp>
          <p:nvSpPr>
            <p:cNvPr id="32" name="Freeform 21">
              <a:extLst>
                <a:ext uri="{FF2B5EF4-FFF2-40B4-BE49-F238E27FC236}">
                  <a16:creationId xmlns:a16="http://schemas.microsoft.com/office/drawing/2014/main" id="{25D61038-ADBB-98D3-CC9D-E8E606EFD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81088" y="4362421"/>
              <a:ext cx="133350" cy="93691"/>
            </a:xfrm>
            <a:custGeom>
              <a:avLst/>
              <a:gdLst>
                <a:gd name="T0" fmla="*/ 311 w 355"/>
                <a:gd name="T1" fmla="*/ 0 h 240"/>
                <a:gd name="T2" fmla="*/ 43 w 355"/>
                <a:gd name="T3" fmla="*/ 0 h 240"/>
                <a:gd name="T4" fmla="*/ 0 w 355"/>
                <a:gd name="T5" fmla="*/ 44 h 240"/>
                <a:gd name="T6" fmla="*/ 0 w 355"/>
                <a:gd name="T7" fmla="*/ 89 h 240"/>
                <a:gd name="T8" fmla="*/ 61 w 355"/>
                <a:gd name="T9" fmla="*/ 161 h 240"/>
                <a:gd name="T10" fmla="*/ 72 w 355"/>
                <a:gd name="T11" fmla="*/ 202 h 240"/>
                <a:gd name="T12" fmla="*/ 122 w 355"/>
                <a:gd name="T13" fmla="*/ 240 h 240"/>
                <a:gd name="T14" fmla="*/ 172 w 355"/>
                <a:gd name="T15" fmla="*/ 240 h 240"/>
                <a:gd name="T16" fmla="*/ 233 w 355"/>
                <a:gd name="T17" fmla="*/ 240 h 240"/>
                <a:gd name="T18" fmla="*/ 292 w 355"/>
                <a:gd name="T19" fmla="*/ 240 h 240"/>
                <a:gd name="T20" fmla="*/ 292 w 355"/>
                <a:gd name="T21" fmla="*/ 165 h 240"/>
                <a:gd name="T22" fmla="*/ 293 w 355"/>
                <a:gd name="T23" fmla="*/ 161 h 240"/>
                <a:gd name="T24" fmla="*/ 355 w 355"/>
                <a:gd name="T25" fmla="*/ 89 h 240"/>
                <a:gd name="T26" fmla="*/ 355 w 355"/>
                <a:gd name="T27" fmla="*/ 44 h 240"/>
                <a:gd name="T28" fmla="*/ 311 w 355"/>
                <a:gd name="T29" fmla="*/ 0 h 240"/>
                <a:gd name="connsiteX0" fmla="*/ 8761 w 10000"/>
                <a:gd name="connsiteY0" fmla="*/ 0 h 10000"/>
                <a:gd name="connsiteX1" fmla="*/ 1211 w 10000"/>
                <a:gd name="connsiteY1" fmla="*/ 0 h 10000"/>
                <a:gd name="connsiteX2" fmla="*/ 0 w 10000"/>
                <a:gd name="connsiteY2" fmla="*/ 1833 h 10000"/>
                <a:gd name="connsiteX3" fmla="*/ 0 w 10000"/>
                <a:gd name="connsiteY3" fmla="*/ 3708 h 10000"/>
                <a:gd name="connsiteX4" fmla="*/ 1718 w 10000"/>
                <a:gd name="connsiteY4" fmla="*/ 6708 h 10000"/>
                <a:gd name="connsiteX5" fmla="*/ 2028 w 10000"/>
                <a:gd name="connsiteY5" fmla="*/ 8417 h 10000"/>
                <a:gd name="connsiteX6" fmla="*/ 3437 w 10000"/>
                <a:gd name="connsiteY6" fmla="*/ 10000 h 10000"/>
                <a:gd name="connsiteX7" fmla="*/ 4845 w 10000"/>
                <a:gd name="connsiteY7" fmla="*/ 10000 h 10000"/>
                <a:gd name="connsiteX8" fmla="*/ 6563 w 10000"/>
                <a:gd name="connsiteY8" fmla="*/ 10000 h 10000"/>
                <a:gd name="connsiteX9" fmla="*/ 8225 w 10000"/>
                <a:gd name="connsiteY9" fmla="*/ 10000 h 10000"/>
                <a:gd name="connsiteX10" fmla="*/ 8225 w 10000"/>
                <a:gd name="connsiteY10" fmla="*/ 6875 h 10000"/>
                <a:gd name="connsiteX11" fmla="*/ 8254 w 10000"/>
                <a:gd name="connsiteY11" fmla="*/ 6708 h 10000"/>
                <a:gd name="connsiteX12" fmla="*/ 10000 w 10000"/>
                <a:gd name="connsiteY12" fmla="*/ 3708 h 10000"/>
                <a:gd name="connsiteX13" fmla="*/ 10000 w 10000"/>
                <a:gd name="connsiteY13" fmla="*/ 1833 h 10000"/>
                <a:gd name="connsiteX14" fmla="*/ 8761 w 10000"/>
                <a:gd name="connsiteY14" fmla="*/ 0 h 10000"/>
                <a:gd name="connsiteX0" fmla="*/ 8761 w 10000"/>
                <a:gd name="connsiteY0" fmla="*/ 0 h 10000"/>
                <a:gd name="connsiteX1" fmla="*/ 1211 w 10000"/>
                <a:gd name="connsiteY1" fmla="*/ 0 h 10000"/>
                <a:gd name="connsiteX2" fmla="*/ 0 w 10000"/>
                <a:gd name="connsiteY2" fmla="*/ 1833 h 10000"/>
                <a:gd name="connsiteX3" fmla="*/ 0 w 10000"/>
                <a:gd name="connsiteY3" fmla="*/ 3708 h 10000"/>
                <a:gd name="connsiteX4" fmla="*/ 1718 w 10000"/>
                <a:gd name="connsiteY4" fmla="*/ 6708 h 10000"/>
                <a:gd name="connsiteX5" fmla="*/ 2028 w 10000"/>
                <a:gd name="connsiteY5" fmla="*/ 8417 h 10000"/>
                <a:gd name="connsiteX6" fmla="*/ 3437 w 10000"/>
                <a:gd name="connsiteY6" fmla="*/ 10000 h 10000"/>
                <a:gd name="connsiteX7" fmla="*/ 4845 w 10000"/>
                <a:gd name="connsiteY7" fmla="*/ 10000 h 10000"/>
                <a:gd name="connsiteX8" fmla="*/ 6563 w 10000"/>
                <a:gd name="connsiteY8" fmla="*/ 10000 h 10000"/>
                <a:gd name="connsiteX9" fmla="*/ 8225 w 10000"/>
                <a:gd name="connsiteY9" fmla="*/ 10000 h 10000"/>
                <a:gd name="connsiteX10" fmla="*/ 8225 w 10000"/>
                <a:gd name="connsiteY10" fmla="*/ 6875 h 10000"/>
                <a:gd name="connsiteX11" fmla="*/ 8254 w 10000"/>
                <a:gd name="connsiteY11" fmla="*/ 6708 h 10000"/>
                <a:gd name="connsiteX12" fmla="*/ 10000 w 10000"/>
                <a:gd name="connsiteY12" fmla="*/ 3708 h 10000"/>
                <a:gd name="connsiteX13" fmla="*/ 10000 w 10000"/>
                <a:gd name="connsiteY13" fmla="*/ 1833 h 10000"/>
                <a:gd name="connsiteX14" fmla="*/ 8761 w 10000"/>
                <a:gd name="connsiteY14" fmla="*/ 0 h 10000"/>
                <a:gd name="connsiteX0" fmla="*/ 8761 w 10000"/>
                <a:gd name="connsiteY0" fmla="*/ 656 h 10656"/>
                <a:gd name="connsiteX1" fmla="*/ 1211 w 10000"/>
                <a:gd name="connsiteY1" fmla="*/ 656 h 10656"/>
                <a:gd name="connsiteX2" fmla="*/ 0 w 10000"/>
                <a:gd name="connsiteY2" fmla="*/ 2489 h 10656"/>
                <a:gd name="connsiteX3" fmla="*/ 0 w 10000"/>
                <a:gd name="connsiteY3" fmla="*/ 4364 h 10656"/>
                <a:gd name="connsiteX4" fmla="*/ 1718 w 10000"/>
                <a:gd name="connsiteY4" fmla="*/ 7364 h 10656"/>
                <a:gd name="connsiteX5" fmla="*/ 2028 w 10000"/>
                <a:gd name="connsiteY5" fmla="*/ 9073 h 10656"/>
                <a:gd name="connsiteX6" fmla="*/ 3437 w 10000"/>
                <a:gd name="connsiteY6" fmla="*/ 10656 h 10656"/>
                <a:gd name="connsiteX7" fmla="*/ 4845 w 10000"/>
                <a:gd name="connsiteY7" fmla="*/ 10656 h 10656"/>
                <a:gd name="connsiteX8" fmla="*/ 6563 w 10000"/>
                <a:gd name="connsiteY8" fmla="*/ 10656 h 10656"/>
                <a:gd name="connsiteX9" fmla="*/ 8225 w 10000"/>
                <a:gd name="connsiteY9" fmla="*/ 10656 h 10656"/>
                <a:gd name="connsiteX10" fmla="*/ 8225 w 10000"/>
                <a:gd name="connsiteY10" fmla="*/ 7531 h 10656"/>
                <a:gd name="connsiteX11" fmla="*/ 8254 w 10000"/>
                <a:gd name="connsiteY11" fmla="*/ 7364 h 10656"/>
                <a:gd name="connsiteX12" fmla="*/ 10000 w 10000"/>
                <a:gd name="connsiteY12" fmla="*/ 4364 h 10656"/>
                <a:gd name="connsiteX13" fmla="*/ 10000 w 10000"/>
                <a:gd name="connsiteY13" fmla="*/ 2489 h 10656"/>
                <a:gd name="connsiteX14" fmla="*/ 8761 w 10000"/>
                <a:gd name="connsiteY14" fmla="*/ 656 h 10656"/>
                <a:gd name="connsiteX0" fmla="*/ 8761 w 10000"/>
                <a:gd name="connsiteY0" fmla="*/ 973 h 10973"/>
                <a:gd name="connsiteX1" fmla="*/ 1211 w 10000"/>
                <a:gd name="connsiteY1" fmla="*/ 973 h 10973"/>
                <a:gd name="connsiteX2" fmla="*/ 0 w 10000"/>
                <a:gd name="connsiteY2" fmla="*/ 2806 h 10973"/>
                <a:gd name="connsiteX3" fmla="*/ 0 w 10000"/>
                <a:gd name="connsiteY3" fmla="*/ 4681 h 10973"/>
                <a:gd name="connsiteX4" fmla="*/ 1718 w 10000"/>
                <a:gd name="connsiteY4" fmla="*/ 7681 h 10973"/>
                <a:gd name="connsiteX5" fmla="*/ 2028 w 10000"/>
                <a:gd name="connsiteY5" fmla="*/ 9390 h 10973"/>
                <a:gd name="connsiteX6" fmla="*/ 3437 w 10000"/>
                <a:gd name="connsiteY6" fmla="*/ 10973 h 10973"/>
                <a:gd name="connsiteX7" fmla="*/ 4845 w 10000"/>
                <a:gd name="connsiteY7" fmla="*/ 10973 h 10973"/>
                <a:gd name="connsiteX8" fmla="*/ 6563 w 10000"/>
                <a:gd name="connsiteY8" fmla="*/ 10973 h 10973"/>
                <a:gd name="connsiteX9" fmla="*/ 8225 w 10000"/>
                <a:gd name="connsiteY9" fmla="*/ 10973 h 10973"/>
                <a:gd name="connsiteX10" fmla="*/ 8225 w 10000"/>
                <a:gd name="connsiteY10" fmla="*/ 7848 h 10973"/>
                <a:gd name="connsiteX11" fmla="*/ 8254 w 10000"/>
                <a:gd name="connsiteY11" fmla="*/ 7681 h 10973"/>
                <a:gd name="connsiteX12" fmla="*/ 10000 w 10000"/>
                <a:gd name="connsiteY12" fmla="*/ 4681 h 10973"/>
                <a:gd name="connsiteX13" fmla="*/ 10000 w 10000"/>
                <a:gd name="connsiteY13" fmla="*/ 2806 h 10973"/>
                <a:gd name="connsiteX14" fmla="*/ 8761 w 10000"/>
                <a:gd name="connsiteY14" fmla="*/ 973 h 10973"/>
                <a:gd name="connsiteX0" fmla="*/ 8761 w 10000"/>
                <a:gd name="connsiteY0" fmla="*/ 275 h 10275"/>
                <a:gd name="connsiteX1" fmla="*/ 1211 w 10000"/>
                <a:gd name="connsiteY1" fmla="*/ 275 h 10275"/>
                <a:gd name="connsiteX2" fmla="*/ 0 w 10000"/>
                <a:gd name="connsiteY2" fmla="*/ 2108 h 10275"/>
                <a:gd name="connsiteX3" fmla="*/ 0 w 10000"/>
                <a:gd name="connsiteY3" fmla="*/ 3983 h 10275"/>
                <a:gd name="connsiteX4" fmla="*/ 1718 w 10000"/>
                <a:gd name="connsiteY4" fmla="*/ 6983 h 10275"/>
                <a:gd name="connsiteX5" fmla="*/ 2028 w 10000"/>
                <a:gd name="connsiteY5" fmla="*/ 8692 h 10275"/>
                <a:gd name="connsiteX6" fmla="*/ 3437 w 10000"/>
                <a:gd name="connsiteY6" fmla="*/ 10275 h 10275"/>
                <a:gd name="connsiteX7" fmla="*/ 4845 w 10000"/>
                <a:gd name="connsiteY7" fmla="*/ 10275 h 10275"/>
                <a:gd name="connsiteX8" fmla="*/ 6563 w 10000"/>
                <a:gd name="connsiteY8" fmla="*/ 10275 h 10275"/>
                <a:gd name="connsiteX9" fmla="*/ 8225 w 10000"/>
                <a:gd name="connsiteY9" fmla="*/ 10275 h 10275"/>
                <a:gd name="connsiteX10" fmla="*/ 8225 w 10000"/>
                <a:gd name="connsiteY10" fmla="*/ 7150 h 10275"/>
                <a:gd name="connsiteX11" fmla="*/ 8254 w 10000"/>
                <a:gd name="connsiteY11" fmla="*/ 6983 h 10275"/>
                <a:gd name="connsiteX12" fmla="*/ 10000 w 10000"/>
                <a:gd name="connsiteY12" fmla="*/ 3983 h 10275"/>
                <a:gd name="connsiteX13" fmla="*/ 10000 w 10000"/>
                <a:gd name="connsiteY13" fmla="*/ 2108 h 10275"/>
                <a:gd name="connsiteX14" fmla="*/ 8761 w 10000"/>
                <a:gd name="connsiteY14" fmla="*/ 275 h 10275"/>
                <a:gd name="connsiteX0" fmla="*/ 8761 w 10000"/>
                <a:gd name="connsiteY0" fmla="*/ 248 h 10248"/>
                <a:gd name="connsiteX1" fmla="*/ 1211 w 10000"/>
                <a:gd name="connsiteY1" fmla="*/ 248 h 10248"/>
                <a:gd name="connsiteX2" fmla="*/ 0 w 10000"/>
                <a:gd name="connsiteY2" fmla="*/ 2081 h 10248"/>
                <a:gd name="connsiteX3" fmla="*/ 0 w 10000"/>
                <a:gd name="connsiteY3" fmla="*/ 3956 h 10248"/>
                <a:gd name="connsiteX4" fmla="*/ 1718 w 10000"/>
                <a:gd name="connsiteY4" fmla="*/ 6956 h 10248"/>
                <a:gd name="connsiteX5" fmla="*/ 2028 w 10000"/>
                <a:gd name="connsiteY5" fmla="*/ 8665 h 10248"/>
                <a:gd name="connsiteX6" fmla="*/ 3437 w 10000"/>
                <a:gd name="connsiteY6" fmla="*/ 10248 h 10248"/>
                <a:gd name="connsiteX7" fmla="*/ 4845 w 10000"/>
                <a:gd name="connsiteY7" fmla="*/ 10248 h 10248"/>
                <a:gd name="connsiteX8" fmla="*/ 6563 w 10000"/>
                <a:gd name="connsiteY8" fmla="*/ 10248 h 10248"/>
                <a:gd name="connsiteX9" fmla="*/ 8225 w 10000"/>
                <a:gd name="connsiteY9" fmla="*/ 10248 h 10248"/>
                <a:gd name="connsiteX10" fmla="*/ 8225 w 10000"/>
                <a:gd name="connsiteY10" fmla="*/ 7123 h 10248"/>
                <a:gd name="connsiteX11" fmla="*/ 8254 w 10000"/>
                <a:gd name="connsiteY11" fmla="*/ 6956 h 10248"/>
                <a:gd name="connsiteX12" fmla="*/ 10000 w 10000"/>
                <a:gd name="connsiteY12" fmla="*/ 3956 h 10248"/>
                <a:gd name="connsiteX13" fmla="*/ 10000 w 10000"/>
                <a:gd name="connsiteY13" fmla="*/ 2081 h 10248"/>
                <a:gd name="connsiteX14" fmla="*/ 8761 w 10000"/>
                <a:gd name="connsiteY14" fmla="*/ 248 h 10248"/>
                <a:gd name="connsiteX0" fmla="*/ 8761 w 10000"/>
                <a:gd name="connsiteY0" fmla="*/ 295 h 10295"/>
                <a:gd name="connsiteX1" fmla="*/ 1211 w 10000"/>
                <a:gd name="connsiteY1" fmla="*/ 295 h 10295"/>
                <a:gd name="connsiteX2" fmla="*/ 0 w 10000"/>
                <a:gd name="connsiteY2" fmla="*/ 2128 h 10295"/>
                <a:gd name="connsiteX3" fmla="*/ 0 w 10000"/>
                <a:gd name="connsiteY3" fmla="*/ 4003 h 10295"/>
                <a:gd name="connsiteX4" fmla="*/ 1718 w 10000"/>
                <a:gd name="connsiteY4" fmla="*/ 7003 h 10295"/>
                <a:gd name="connsiteX5" fmla="*/ 2028 w 10000"/>
                <a:gd name="connsiteY5" fmla="*/ 8712 h 10295"/>
                <a:gd name="connsiteX6" fmla="*/ 3437 w 10000"/>
                <a:gd name="connsiteY6" fmla="*/ 10295 h 10295"/>
                <a:gd name="connsiteX7" fmla="*/ 4845 w 10000"/>
                <a:gd name="connsiteY7" fmla="*/ 10295 h 10295"/>
                <a:gd name="connsiteX8" fmla="*/ 6563 w 10000"/>
                <a:gd name="connsiteY8" fmla="*/ 10295 h 10295"/>
                <a:gd name="connsiteX9" fmla="*/ 8225 w 10000"/>
                <a:gd name="connsiteY9" fmla="*/ 10295 h 10295"/>
                <a:gd name="connsiteX10" fmla="*/ 8225 w 10000"/>
                <a:gd name="connsiteY10" fmla="*/ 7170 h 10295"/>
                <a:gd name="connsiteX11" fmla="*/ 8254 w 10000"/>
                <a:gd name="connsiteY11" fmla="*/ 7003 h 10295"/>
                <a:gd name="connsiteX12" fmla="*/ 10000 w 10000"/>
                <a:gd name="connsiteY12" fmla="*/ 4003 h 10295"/>
                <a:gd name="connsiteX13" fmla="*/ 10000 w 10000"/>
                <a:gd name="connsiteY13" fmla="*/ 2128 h 10295"/>
                <a:gd name="connsiteX14" fmla="*/ 8761 w 10000"/>
                <a:gd name="connsiteY14" fmla="*/ 295 h 10295"/>
                <a:gd name="connsiteX0" fmla="*/ 8761 w 10000"/>
                <a:gd name="connsiteY0" fmla="*/ 354 h 10354"/>
                <a:gd name="connsiteX1" fmla="*/ 1211 w 10000"/>
                <a:gd name="connsiteY1" fmla="*/ 354 h 10354"/>
                <a:gd name="connsiteX2" fmla="*/ 0 w 10000"/>
                <a:gd name="connsiteY2" fmla="*/ 2187 h 10354"/>
                <a:gd name="connsiteX3" fmla="*/ 0 w 10000"/>
                <a:gd name="connsiteY3" fmla="*/ 4062 h 10354"/>
                <a:gd name="connsiteX4" fmla="*/ 1718 w 10000"/>
                <a:gd name="connsiteY4" fmla="*/ 7062 h 10354"/>
                <a:gd name="connsiteX5" fmla="*/ 2028 w 10000"/>
                <a:gd name="connsiteY5" fmla="*/ 8771 h 10354"/>
                <a:gd name="connsiteX6" fmla="*/ 3437 w 10000"/>
                <a:gd name="connsiteY6" fmla="*/ 10354 h 10354"/>
                <a:gd name="connsiteX7" fmla="*/ 4845 w 10000"/>
                <a:gd name="connsiteY7" fmla="*/ 10354 h 10354"/>
                <a:gd name="connsiteX8" fmla="*/ 6563 w 10000"/>
                <a:gd name="connsiteY8" fmla="*/ 10354 h 10354"/>
                <a:gd name="connsiteX9" fmla="*/ 8225 w 10000"/>
                <a:gd name="connsiteY9" fmla="*/ 10354 h 10354"/>
                <a:gd name="connsiteX10" fmla="*/ 8225 w 10000"/>
                <a:gd name="connsiteY10" fmla="*/ 7229 h 10354"/>
                <a:gd name="connsiteX11" fmla="*/ 8254 w 10000"/>
                <a:gd name="connsiteY11" fmla="*/ 7062 h 10354"/>
                <a:gd name="connsiteX12" fmla="*/ 10000 w 10000"/>
                <a:gd name="connsiteY12" fmla="*/ 4062 h 10354"/>
                <a:gd name="connsiteX13" fmla="*/ 10000 w 10000"/>
                <a:gd name="connsiteY13" fmla="*/ 2187 h 10354"/>
                <a:gd name="connsiteX14" fmla="*/ 8761 w 10000"/>
                <a:gd name="connsiteY14" fmla="*/ 354 h 10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000" h="10354">
                  <a:moveTo>
                    <a:pt x="8761" y="354"/>
                  </a:moveTo>
                  <a:cubicBezTo>
                    <a:pt x="6114" y="1160"/>
                    <a:pt x="3561" y="-753"/>
                    <a:pt x="1211" y="354"/>
                  </a:cubicBezTo>
                  <a:cubicBezTo>
                    <a:pt x="535" y="354"/>
                    <a:pt x="0" y="1146"/>
                    <a:pt x="0" y="2187"/>
                  </a:cubicBezTo>
                  <a:lnTo>
                    <a:pt x="0" y="4062"/>
                  </a:lnTo>
                  <a:cubicBezTo>
                    <a:pt x="0" y="5604"/>
                    <a:pt x="732" y="6812"/>
                    <a:pt x="1718" y="7062"/>
                  </a:cubicBezTo>
                  <a:cubicBezTo>
                    <a:pt x="1821" y="7632"/>
                    <a:pt x="1925" y="8201"/>
                    <a:pt x="2028" y="8771"/>
                  </a:cubicBezTo>
                  <a:cubicBezTo>
                    <a:pt x="2197" y="9729"/>
                    <a:pt x="2761" y="10354"/>
                    <a:pt x="3437" y="10354"/>
                  </a:cubicBezTo>
                  <a:lnTo>
                    <a:pt x="4845" y="10354"/>
                  </a:lnTo>
                  <a:lnTo>
                    <a:pt x="6563" y="10354"/>
                  </a:lnTo>
                  <a:lnTo>
                    <a:pt x="8225" y="10354"/>
                  </a:lnTo>
                  <a:lnTo>
                    <a:pt x="8225" y="7229"/>
                  </a:lnTo>
                  <a:cubicBezTo>
                    <a:pt x="8235" y="7173"/>
                    <a:pt x="8244" y="7118"/>
                    <a:pt x="8254" y="7062"/>
                  </a:cubicBezTo>
                  <a:cubicBezTo>
                    <a:pt x="9239" y="6854"/>
                    <a:pt x="10000" y="5604"/>
                    <a:pt x="10000" y="4062"/>
                  </a:cubicBezTo>
                  <a:lnTo>
                    <a:pt x="10000" y="2187"/>
                  </a:lnTo>
                  <a:cubicBezTo>
                    <a:pt x="10000" y="1187"/>
                    <a:pt x="9380" y="1270"/>
                    <a:pt x="8761" y="3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6AFEDC81-DC31-E37B-5C4A-DF81FE2F2D44}"/>
              </a:ext>
            </a:extLst>
          </p:cNvPr>
          <p:cNvSpPr txBox="1"/>
          <p:nvPr/>
        </p:nvSpPr>
        <p:spPr>
          <a:xfrm>
            <a:off x="4302495" y="2925023"/>
            <a:ext cx="3490722" cy="381642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Graph-Based RAG Workflow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powers structured, plan-first answering of scientific queries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Multi-Agent System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handles: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lanning Agent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: Breaks down complex queries into structured sub-questions.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earch Agents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: Perform targeted RAG over internal (PDFs) and external (PubMed, Springer) databases.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ummarization Agent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: Synthesizes evidence into detailed or simplified formats, adaptable to user roles.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Human-in-the-Loop Agent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: Captures expert edits and integrates feedback at each stage.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upports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ection-by-Section Executio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using a Search–Reflect–Write loop.</a:t>
            </a:r>
          </a:p>
        </p:txBody>
      </p:sp>
      <p:sp>
        <p:nvSpPr>
          <p:cNvPr id="34" name="Rectangle: Rounded Corners 47">
            <a:extLst>
              <a:ext uri="{FF2B5EF4-FFF2-40B4-BE49-F238E27FC236}">
                <a16:creationId xmlns:a16="http://schemas.microsoft.com/office/drawing/2014/main" id="{676D658C-BD9B-3A0C-56EB-93A72D43A5AF}"/>
              </a:ext>
            </a:extLst>
          </p:cNvPr>
          <p:cNvSpPr/>
          <p:nvPr/>
        </p:nvSpPr>
        <p:spPr>
          <a:xfrm>
            <a:off x="8112224" y="2195717"/>
            <a:ext cx="3761296" cy="4280440"/>
          </a:xfrm>
          <a:prstGeom prst="roundRect">
            <a:avLst>
              <a:gd name="adj" fmla="val 9399"/>
            </a:avLst>
          </a:prstGeom>
          <a:gradFill flip="none" rotWithShape="1">
            <a:gsLst>
              <a:gs pos="13000">
                <a:srgbClr val="272936">
                  <a:alpha val="70000"/>
                </a:srgbClr>
              </a:gs>
              <a:gs pos="100000">
                <a:srgbClr val="0070AD">
                  <a:alpha val="15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A9B9BF4-6783-FEFF-14FC-051D40FEBC1C}"/>
              </a:ext>
            </a:extLst>
          </p:cNvPr>
          <p:cNvSpPr/>
          <p:nvPr/>
        </p:nvSpPr>
        <p:spPr>
          <a:xfrm>
            <a:off x="9349657" y="3003779"/>
            <a:ext cx="2239860" cy="10234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7C1A8C0-E06C-054D-91A0-BF999788100C}"/>
              </a:ext>
            </a:extLst>
          </p:cNvPr>
          <p:cNvSpPr/>
          <p:nvPr/>
        </p:nvSpPr>
        <p:spPr>
          <a:xfrm>
            <a:off x="9772478" y="2997031"/>
            <a:ext cx="1836000" cy="7560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80FFA4C-EE75-3022-B041-BED9EB374CFE}"/>
              </a:ext>
            </a:extLst>
          </p:cNvPr>
          <p:cNvSpPr txBox="1"/>
          <p:nvPr/>
        </p:nvSpPr>
        <p:spPr>
          <a:xfrm>
            <a:off x="9692053" y="2947591"/>
            <a:ext cx="1902862" cy="76944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Arial"/>
              </a:rPr>
              <a:t>70–80% reduction in manual effort for research review &amp; summarization.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ABDB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grpSp>
        <p:nvGrpSpPr>
          <p:cNvPr id="38" name="Gruppieren 22">
            <a:extLst>
              <a:ext uri="{FF2B5EF4-FFF2-40B4-BE49-F238E27FC236}">
                <a16:creationId xmlns:a16="http://schemas.microsoft.com/office/drawing/2014/main" id="{7F27B421-E94B-C09B-A319-1D14F6D9FB30}"/>
              </a:ext>
            </a:extLst>
          </p:cNvPr>
          <p:cNvGrpSpPr/>
          <p:nvPr/>
        </p:nvGrpSpPr>
        <p:grpSpPr>
          <a:xfrm>
            <a:off x="8472264" y="3140968"/>
            <a:ext cx="860407" cy="438323"/>
            <a:chOff x="5188579" y="1694267"/>
            <a:chExt cx="404418" cy="1159984"/>
          </a:xfrm>
          <a:effectLst>
            <a:outerShdw blurRad="50800" dist="50800" dir="5400000" algn="ctr" rotWithShape="0">
              <a:srgbClr val="000000"/>
            </a:outerShdw>
          </a:effectLst>
        </p:grpSpPr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D4404CCC-6EE9-6B3B-29CA-D44DA067AD6D}"/>
                </a:ext>
              </a:extLst>
            </p:cNvPr>
            <p:cNvSpPr/>
            <p:nvPr/>
          </p:nvSpPr>
          <p:spPr>
            <a:xfrm>
              <a:off x="5288196" y="1694267"/>
              <a:ext cx="304801" cy="1142282"/>
            </a:xfrm>
            <a:custGeom>
              <a:avLst/>
              <a:gdLst/>
              <a:ahLst/>
              <a:cxnLst/>
              <a:rect l="0" t="0" r="0" b="0"/>
              <a:pathLst>
                <a:path w="304801" h="4392001">
                  <a:moveTo>
                    <a:pt x="0" y="0"/>
                  </a:moveTo>
                  <a:lnTo>
                    <a:pt x="304800" y="2196000"/>
                  </a:lnTo>
                  <a:lnTo>
                    <a:pt x="0" y="43920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40" name="Freeform: Shape 38">
              <a:extLst>
                <a:ext uri="{FF2B5EF4-FFF2-40B4-BE49-F238E27FC236}">
                  <a16:creationId xmlns:a16="http://schemas.microsoft.com/office/drawing/2014/main" id="{65821887-5DFA-EC31-6F80-F060204A29FC}"/>
                </a:ext>
              </a:extLst>
            </p:cNvPr>
            <p:cNvSpPr/>
            <p:nvPr/>
          </p:nvSpPr>
          <p:spPr>
            <a:xfrm>
              <a:off x="5188579" y="1711969"/>
              <a:ext cx="304801" cy="1142282"/>
            </a:xfrm>
            <a:custGeom>
              <a:avLst/>
              <a:gdLst/>
              <a:ahLst/>
              <a:cxnLst/>
              <a:rect l="0" t="0" r="0" b="0"/>
              <a:pathLst>
                <a:path w="304801" h="4392001">
                  <a:moveTo>
                    <a:pt x="0" y="0"/>
                  </a:moveTo>
                  <a:lnTo>
                    <a:pt x="304800" y="2196000"/>
                  </a:lnTo>
                  <a:lnTo>
                    <a:pt x="0" y="439200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C9DE2017-1716-E1C3-BB41-07269FCBE17D}"/>
              </a:ext>
            </a:extLst>
          </p:cNvPr>
          <p:cNvGrpSpPr/>
          <p:nvPr/>
        </p:nvGrpSpPr>
        <p:grpSpPr>
          <a:xfrm>
            <a:off x="8229598" y="2348164"/>
            <a:ext cx="381161" cy="343409"/>
            <a:chOff x="-1936751" y="3287713"/>
            <a:chExt cx="1985964" cy="1457325"/>
          </a:xfrm>
          <a:solidFill>
            <a:schemeClr val="bg1"/>
          </a:solidFill>
        </p:grpSpPr>
        <p:sp>
          <p:nvSpPr>
            <p:cNvPr id="42" name="Freeform 25">
              <a:extLst>
                <a:ext uri="{FF2B5EF4-FFF2-40B4-BE49-F238E27FC236}">
                  <a16:creationId xmlns:a16="http://schemas.microsoft.com/office/drawing/2014/main" id="{42AA105B-6057-36E5-64ED-C1C2BFAABE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770063" y="4098925"/>
              <a:ext cx="312738" cy="646112"/>
            </a:xfrm>
            <a:custGeom>
              <a:avLst/>
              <a:gdLst>
                <a:gd name="T0" fmla="*/ 41 w 247"/>
                <a:gd name="T1" fmla="*/ 206 h 509"/>
                <a:gd name="T2" fmla="*/ 0 w 247"/>
                <a:gd name="T3" fmla="*/ 234 h 509"/>
                <a:gd name="T4" fmla="*/ 0 w 247"/>
                <a:gd name="T5" fmla="*/ 450 h 509"/>
                <a:gd name="T6" fmla="*/ 58 w 247"/>
                <a:gd name="T7" fmla="*/ 509 h 509"/>
                <a:gd name="T8" fmla="*/ 189 w 247"/>
                <a:gd name="T9" fmla="*/ 509 h 509"/>
                <a:gd name="T10" fmla="*/ 247 w 247"/>
                <a:gd name="T11" fmla="*/ 450 h 509"/>
                <a:gd name="T12" fmla="*/ 247 w 247"/>
                <a:gd name="T13" fmla="*/ 8 h 509"/>
                <a:gd name="T14" fmla="*/ 247 w 247"/>
                <a:gd name="T15" fmla="*/ 0 h 509"/>
                <a:gd name="T16" fmla="*/ 41 w 247"/>
                <a:gd name="T17" fmla="*/ 206 h 509"/>
                <a:gd name="T18" fmla="*/ 41 w 247"/>
                <a:gd name="T19" fmla="*/ 206 h 509"/>
                <a:gd name="T20" fmla="*/ 41 w 247"/>
                <a:gd name="T21" fmla="*/ 206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7" h="509">
                  <a:moveTo>
                    <a:pt x="41" y="206"/>
                  </a:moveTo>
                  <a:cubicBezTo>
                    <a:pt x="29" y="218"/>
                    <a:pt x="15" y="227"/>
                    <a:pt x="0" y="234"/>
                  </a:cubicBezTo>
                  <a:cubicBezTo>
                    <a:pt x="0" y="450"/>
                    <a:pt x="0" y="450"/>
                    <a:pt x="0" y="450"/>
                  </a:cubicBezTo>
                  <a:cubicBezTo>
                    <a:pt x="0" y="483"/>
                    <a:pt x="26" y="509"/>
                    <a:pt x="58" y="509"/>
                  </a:cubicBezTo>
                  <a:cubicBezTo>
                    <a:pt x="189" y="509"/>
                    <a:pt x="189" y="509"/>
                    <a:pt x="189" y="509"/>
                  </a:cubicBezTo>
                  <a:cubicBezTo>
                    <a:pt x="221" y="509"/>
                    <a:pt x="247" y="482"/>
                    <a:pt x="247" y="450"/>
                  </a:cubicBezTo>
                  <a:cubicBezTo>
                    <a:pt x="247" y="8"/>
                    <a:pt x="247" y="8"/>
                    <a:pt x="247" y="8"/>
                  </a:cubicBezTo>
                  <a:cubicBezTo>
                    <a:pt x="247" y="5"/>
                    <a:pt x="247" y="2"/>
                    <a:pt x="247" y="0"/>
                  </a:cubicBezTo>
                  <a:lnTo>
                    <a:pt x="41" y="206"/>
                  </a:lnTo>
                  <a:close/>
                  <a:moveTo>
                    <a:pt x="41" y="206"/>
                  </a:moveTo>
                  <a:cubicBezTo>
                    <a:pt x="41" y="206"/>
                    <a:pt x="41" y="206"/>
                    <a:pt x="41" y="20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Arial"/>
                <a:sym typeface="Arial"/>
              </a:endParaRPr>
            </a:p>
          </p:txBody>
        </p:sp>
        <p:sp>
          <p:nvSpPr>
            <p:cNvPr id="43" name="Freeform 26">
              <a:extLst>
                <a:ext uri="{FF2B5EF4-FFF2-40B4-BE49-F238E27FC236}">
                  <a16:creationId xmlns:a16="http://schemas.microsoft.com/office/drawing/2014/main" id="{3CBE0B4E-B895-F203-30FD-80C842BDE7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36751" y="3287713"/>
              <a:ext cx="1985964" cy="1114425"/>
            </a:xfrm>
            <a:custGeom>
              <a:avLst/>
              <a:gdLst>
                <a:gd name="T0" fmla="*/ 1530 w 1566"/>
                <a:gd name="T1" fmla="*/ 0 h 878"/>
                <a:gd name="T2" fmla="*/ 1526 w 1566"/>
                <a:gd name="T3" fmla="*/ 0 h 878"/>
                <a:gd name="T4" fmla="*/ 1261 w 1566"/>
                <a:gd name="T5" fmla="*/ 13 h 878"/>
                <a:gd name="T6" fmla="*/ 1226 w 1566"/>
                <a:gd name="T7" fmla="*/ 31 h 878"/>
                <a:gd name="T8" fmla="*/ 1236 w 1566"/>
                <a:gd name="T9" fmla="*/ 66 h 878"/>
                <a:gd name="T10" fmla="*/ 1318 w 1566"/>
                <a:gd name="T11" fmla="*/ 147 h 878"/>
                <a:gd name="T12" fmla="*/ 1288 w 1566"/>
                <a:gd name="T13" fmla="*/ 177 h 878"/>
                <a:gd name="T14" fmla="*/ 1043 w 1566"/>
                <a:gd name="T15" fmla="*/ 422 h 878"/>
                <a:gd name="T16" fmla="*/ 1021 w 1566"/>
                <a:gd name="T17" fmla="*/ 444 h 878"/>
                <a:gd name="T18" fmla="*/ 757 w 1566"/>
                <a:gd name="T19" fmla="*/ 708 h 878"/>
                <a:gd name="T20" fmla="*/ 426 w 1566"/>
                <a:gd name="T21" fmla="*/ 376 h 878"/>
                <a:gd name="T22" fmla="*/ 384 w 1566"/>
                <a:gd name="T23" fmla="*/ 359 h 878"/>
                <a:gd name="T24" fmla="*/ 343 w 1566"/>
                <a:gd name="T25" fmla="*/ 376 h 878"/>
                <a:gd name="T26" fmla="*/ 23 w 1566"/>
                <a:gd name="T27" fmla="*/ 696 h 878"/>
                <a:gd name="T28" fmla="*/ 23 w 1566"/>
                <a:gd name="T29" fmla="*/ 779 h 878"/>
                <a:gd name="T30" fmla="*/ 37 w 1566"/>
                <a:gd name="T31" fmla="*/ 793 h 878"/>
                <a:gd name="T32" fmla="*/ 79 w 1566"/>
                <a:gd name="T33" fmla="*/ 810 h 878"/>
                <a:gd name="T34" fmla="*/ 120 w 1566"/>
                <a:gd name="T35" fmla="*/ 793 h 878"/>
                <a:gd name="T36" fmla="*/ 384 w 1566"/>
                <a:gd name="T37" fmla="*/ 529 h 878"/>
                <a:gd name="T38" fmla="*/ 716 w 1566"/>
                <a:gd name="T39" fmla="*/ 861 h 878"/>
                <a:gd name="T40" fmla="*/ 757 w 1566"/>
                <a:gd name="T41" fmla="*/ 878 h 878"/>
                <a:gd name="T42" fmla="*/ 799 w 1566"/>
                <a:gd name="T43" fmla="*/ 861 h 878"/>
                <a:gd name="T44" fmla="*/ 813 w 1566"/>
                <a:gd name="T45" fmla="*/ 846 h 878"/>
                <a:gd name="T46" fmla="*/ 1065 w 1566"/>
                <a:gd name="T47" fmla="*/ 594 h 878"/>
                <a:gd name="T48" fmla="*/ 1118 w 1566"/>
                <a:gd name="T49" fmla="*/ 541 h 878"/>
                <a:gd name="T50" fmla="*/ 1140 w 1566"/>
                <a:gd name="T51" fmla="*/ 519 h 878"/>
                <a:gd name="T52" fmla="*/ 1415 w 1566"/>
                <a:gd name="T53" fmla="*/ 245 h 878"/>
                <a:gd name="T54" fmla="*/ 1495 w 1566"/>
                <a:gd name="T55" fmla="*/ 324 h 878"/>
                <a:gd name="T56" fmla="*/ 1520 w 1566"/>
                <a:gd name="T57" fmla="*/ 339 h 878"/>
                <a:gd name="T58" fmla="*/ 1533 w 1566"/>
                <a:gd name="T59" fmla="*/ 336 h 878"/>
                <a:gd name="T60" fmla="*/ 1553 w 1566"/>
                <a:gd name="T61" fmla="*/ 297 h 878"/>
                <a:gd name="T62" fmla="*/ 1565 w 1566"/>
                <a:gd name="T63" fmla="*/ 38 h 878"/>
                <a:gd name="T64" fmla="*/ 1530 w 1566"/>
                <a:gd name="T65" fmla="*/ 0 h 878"/>
                <a:gd name="T66" fmla="*/ 1530 w 1566"/>
                <a:gd name="T67" fmla="*/ 0 h 878"/>
                <a:gd name="T68" fmla="*/ 1530 w 1566"/>
                <a:gd name="T69" fmla="*/ 0 h 8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66" h="878">
                  <a:moveTo>
                    <a:pt x="1530" y="0"/>
                  </a:moveTo>
                  <a:cubicBezTo>
                    <a:pt x="1526" y="0"/>
                    <a:pt x="1526" y="0"/>
                    <a:pt x="1526" y="0"/>
                  </a:cubicBezTo>
                  <a:cubicBezTo>
                    <a:pt x="1438" y="5"/>
                    <a:pt x="1349" y="9"/>
                    <a:pt x="1261" y="13"/>
                  </a:cubicBezTo>
                  <a:cubicBezTo>
                    <a:pt x="1247" y="14"/>
                    <a:pt x="1234" y="14"/>
                    <a:pt x="1226" y="31"/>
                  </a:cubicBezTo>
                  <a:cubicBezTo>
                    <a:pt x="1218" y="47"/>
                    <a:pt x="1227" y="56"/>
                    <a:pt x="1236" y="66"/>
                  </a:cubicBezTo>
                  <a:cubicBezTo>
                    <a:pt x="1264" y="93"/>
                    <a:pt x="1291" y="121"/>
                    <a:pt x="1318" y="147"/>
                  </a:cubicBezTo>
                  <a:cubicBezTo>
                    <a:pt x="1288" y="177"/>
                    <a:pt x="1288" y="177"/>
                    <a:pt x="1288" y="177"/>
                  </a:cubicBezTo>
                  <a:cubicBezTo>
                    <a:pt x="1043" y="422"/>
                    <a:pt x="1043" y="422"/>
                    <a:pt x="1043" y="422"/>
                  </a:cubicBezTo>
                  <a:cubicBezTo>
                    <a:pt x="1021" y="444"/>
                    <a:pt x="1021" y="444"/>
                    <a:pt x="1021" y="444"/>
                  </a:cubicBezTo>
                  <a:cubicBezTo>
                    <a:pt x="757" y="708"/>
                    <a:pt x="757" y="708"/>
                    <a:pt x="757" y="708"/>
                  </a:cubicBezTo>
                  <a:cubicBezTo>
                    <a:pt x="426" y="376"/>
                    <a:pt x="426" y="376"/>
                    <a:pt x="426" y="376"/>
                  </a:cubicBezTo>
                  <a:cubicBezTo>
                    <a:pt x="414" y="365"/>
                    <a:pt x="399" y="359"/>
                    <a:pt x="384" y="359"/>
                  </a:cubicBezTo>
                  <a:cubicBezTo>
                    <a:pt x="369" y="359"/>
                    <a:pt x="355" y="365"/>
                    <a:pt x="343" y="376"/>
                  </a:cubicBezTo>
                  <a:cubicBezTo>
                    <a:pt x="23" y="696"/>
                    <a:pt x="23" y="696"/>
                    <a:pt x="23" y="696"/>
                  </a:cubicBezTo>
                  <a:cubicBezTo>
                    <a:pt x="0" y="719"/>
                    <a:pt x="0" y="756"/>
                    <a:pt x="23" y="779"/>
                  </a:cubicBezTo>
                  <a:cubicBezTo>
                    <a:pt x="37" y="793"/>
                    <a:pt x="37" y="793"/>
                    <a:pt x="37" y="793"/>
                  </a:cubicBezTo>
                  <a:cubicBezTo>
                    <a:pt x="49" y="805"/>
                    <a:pt x="64" y="810"/>
                    <a:pt x="79" y="810"/>
                  </a:cubicBezTo>
                  <a:cubicBezTo>
                    <a:pt x="94" y="810"/>
                    <a:pt x="108" y="804"/>
                    <a:pt x="120" y="793"/>
                  </a:cubicBezTo>
                  <a:cubicBezTo>
                    <a:pt x="384" y="529"/>
                    <a:pt x="384" y="529"/>
                    <a:pt x="384" y="529"/>
                  </a:cubicBezTo>
                  <a:cubicBezTo>
                    <a:pt x="716" y="861"/>
                    <a:pt x="716" y="861"/>
                    <a:pt x="716" y="861"/>
                  </a:cubicBezTo>
                  <a:cubicBezTo>
                    <a:pt x="728" y="872"/>
                    <a:pt x="742" y="878"/>
                    <a:pt x="757" y="878"/>
                  </a:cubicBezTo>
                  <a:cubicBezTo>
                    <a:pt x="772" y="878"/>
                    <a:pt x="787" y="872"/>
                    <a:pt x="799" y="861"/>
                  </a:cubicBezTo>
                  <a:cubicBezTo>
                    <a:pt x="813" y="846"/>
                    <a:pt x="813" y="846"/>
                    <a:pt x="813" y="846"/>
                  </a:cubicBezTo>
                  <a:cubicBezTo>
                    <a:pt x="1065" y="594"/>
                    <a:pt x="1065" y="594"/>
                    <a:pt x="1065" y="594"/>
                  </a:cubicBezTo>
                  <a:cubicBezTo>
                    <a:pt x="1118" y="541"/>
                    <a:pt x="1118" y="541"/>
                    <a:pt x="1118" y="541"/>
                  </a:cubicBezTo>
                  <a:cubicBezTo>
                    <a:pt x="1140" y="519"/>
                    <a:pt x="1140" y="519"/>
                    <a:pt x="1140" y="519"/>
                  </a:cubicBezTo>
                  <a:cubicBezTo>
                    <a:pt x="1415" y="245"/>
                    <a:pt x="1415" y="245"/>
                    <a:pt x="1415" y="245"/>
                  </a:cubicBezTo>
                  <a:cubicBezTo>
                    <a:pt x="1495" y="324"/>
                    <a:pt x="1495" y="324"/>
                    <a:pt x="1495" y="324"/>
                  </a:cubicBezTo>
                  <a:cubicBezTo>
                    <a:pt x="1502" y="331"/>
                    <a:pt x="1509" y="339"/>
                    <a:pt x="1520" y="339"/>
                  </a:cubicBezTo>
                  <a:cubicBezTo>
                    <a:pt x="1524" y="339"/>
                    <a:pt x="1528" y="338"/>
                    <a:pt x="1533" y="336"/>
                  </a:cubicBezTo>
                  <a:cubicBezTo>
                    <a:pt x="1549" y="327"/>
                    <a:pt x="1553" y="313"/>
                    <a:pt x="1553" y="297"/>
                  </a:cubicBezTo>
                  <a:cubicBezTo>
                    <a:pt x="1557" y="211"/>
                    <a:pt x="1561" y="125"/>
                    <a:pt x="1565" y="38"/>
                  </a:cubicBezTo>
                  <a:cubicBezTo>
                    <a:pt x="1566" y="12"/>
                    <a:pt x="1556" y="0"/>
                    <a:pt x="1530" y="0"/>
                  </a:cubicBezTo>
                  <a:close/>
                  <a:moveTo>
                    <a:pt x="1530" y="0"/>
                  </a:moveTo>
                  <a:cubicBezTo>
                    <a:pt x="1530" y="0"/>
                    <a:pt x="1530" y="0"/>
                    <a:pt x="153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Arial"/>
                <a:sym typeface="Arial"/>
              </a:endParaRPr>
            </a:p>
          </p:txBody>
        </p:sp>
        <p:sp>
          <p:nvSpPr>
            <p:cNvPr id="44" name="Freeform 27">
              <a:extLst>
                <a:ext uri="{FF2B5EF4-FFF2-40B4-BE49-F238E27FC236}">
                  <a16:creationId xmlns:a16="http://schemas.microsoft.com/office/drawing/2014/main" id="{06C1333C-B124-D47D-A395-69C5238E92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336675" y="4214813"/>
              <a:ext cx="312738" cy="530225"/>
            </a:xfrm>
            <a:custGeom>
              <a:avLst/>
              <a:gdLst>
                <a:gd name="T0" fmla="*/ 176 w 247"/>
                <a:gd name="T1" fmla="*/ 169 h 418"/>
                <a:gd name="T2" fmla="*/ 8 w 247"/>
                <a:gd name="T3" fmla="*/ 0 h 418"/>
                <a:gd name="T4" fmla="*/ 0 w 247"/>
                <a:gd name="T5" fmla="*/ 30 h 418"/>
                <a:gd name="T6" fmla="*/ 0 w 247"/>
                <a:gd name="T7" fmla="*/ 360 h 418"/>
                <a:gd name="T8" fmla="*/ 58 w 247"/>
                <a:gd name="T9" fmla="*/ 418 h 418"/>
                <a:gd name="T10" fmla="*/ 189 w 247"/>
                <a:gd name="T11" fmla="*/ 418 h 418"/>
                <a:gd name="T12" fmla="*/ 247 w 247"/>
                <a:gd name="T13" fmla="*/ 360 h 418"/>
                <a:gd name="T14" fmla="*/ 247 w 247"/>
                <a:gd name="T15" fmla="*/ 217 h 418"/>
                <a:gd name="T16" fmla="*/ 191 w 247"/>
                <a:gd name="T17" fmla="*/ 183 h 418"/>
                <a:gd name="T18" fmla="*/ 176 w 247"/>
                <a:gd name="T19" fmla="*/ 169 h 418"/>
                <a:gd name="T20" fmla="*/ 176 w 247"/>
                <a:gd name="T21" fmla="*/ 169 h 418"/>
                <a:gd name="T22" fmla="*/ 176 w 247"/>
                <a:gd name="T23" fmla="*/ 169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7" h="418">
                  <a:moveTo>
                    <a:pt x="176" y="169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3" y="9"/>
                    <a:pt x="0" y="19"/>
                    <a:pt x="0" y="30"/>
                  </a:cubicBezTo>
                  <a:cubicBezTo>
                    <a:pt x="0" y="360"/>
                    <a:pt x="0" y="360"/>
                    <a:pt x="0" y="360"/>
                  </a:cubicBezTo>
                  <a:cubicBezTo>
                    <a:pt x="0" y="392"/>
                    <a:pt x="26" y="418"/>
                    <a:pt x="58" y="418"/>
                  </a:cubicBezTo>
                  <a:cubicBezTo>
                    <a:pt x="189" y="418"/>
                    <a:pt x="189" y="418"/>
                    <a:pt x="189" y="418"/>
                  </a:cubicBezTo>
                  <a:cubicBezTo>
                    <a:pt x="221" y="418"/>
                    <a:pt x="247" y="392"/>
                    <a:pt x="247" y="360"/>
                  </a:cubicBezTo>
                  <a:cubicBezTo>
                    <a:pt x="247" y="217"/>
                    <a:pt x="247" y="217"/>
                    <a:pt x="247" y="217"/>
                  </a:cubicBezTo>
                  <a:cubicBezTo>
                    <a:pt x="226" y="211"/>
                    <a:pt x="207" y="199"/>
                    <a:pt x="191" y="183"/>
                  </a:cubicBezTo>
                  <a:lnTo>
                    <a:pt x="176" y="169"/>
                  </a:lnTo>
                  <a:close/>
                  <a:moveTo>
                    <a:pt x="176" y="169"/>
                  </a:moveTo>
                  <a:cubicBezTo>
                    <a:pt x="176" y="169"/>
                    <a:pt x="176" y="169"/>
                    <a:pt x="176" y="16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Arial"/>
                <a:sym typeface="Arial"/>
              </a:endParaRPr>
            </a:p>
          </p:txBody>
        </p:sp>
        <p:sp>
          <p:nvSpPr>
            <p:cNvPr id="45" name="Freeform 28">
              <a:extLst>
                <a:ext uri="{FF2B5EF4-FFF2-40B4-BE49-F238E27FC236}">
                  <a16:creationId xmlns:a16="http://schemas.microsoft.com/office/drawing/2014/main" id="{25474DC9-9811-C1FA-FC84-F0B0665DD5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903287" y="4200525"/>
              <a:ext cx="312738" cy="544512"/>
            </a:xfrm>
            <a:custGeom>
              <a:avLst/>
              <a:gdLst>
                <a:gd name="T0" fmla="*/ 50 w 247"/>
                <a:gd name="T1" fmla="*/ 180 h 429"/>
                <a:gd name="T2" fmla="*/ 36 w 247"/>
                <a:gd name="T3" fmla="*/ 194 h 429"/>
                <a:gd name="T4" fmla="*/ 0 w 247"/>
                <a:gd name="T5" fmla="*/ 220 h 429"/>
                <a:gd name="T6" fmla="*/ 0 w 247"/>
                <a:gd name="T7" fmla="*/ 371 h 429"/>
                <a:gd name="T8" fmla="*/ 58 w 247"/>
                <a:gd name="T9" fmla="*/ 429 h 429"/>
                <a:gd name="T10" fmla="*/ 189 w 247"/>
                <a:gd name="T11" fmla="*/ 429 h 429"/>
                <a:gd name="T12" fmla="*/ 247 w 247"/>
                <a:gd name="T13" fmla="*/ 371 h 429"/>
                <a:gd name="T14" fmla="*/ 247 w 247"/>
                <a:gd name="T15" fmla="*/ 41 h 429"/>
                <a:gd name="T16" fmla="*/ 230 w 247"/>
                <a:gd name="T17" fmla="*/ 0 h 429"/>
                <a:gd name="T18" fmla="*/ 50 w 247"/>
                <a:gd name="T19" fmla="*/ 180 h 429"/>
                <a:gd name="T20" fmla="*/ 50 w 247"/>
                <a:gd name="T21" fmla="*/ 180 h 429"/>
                <a:gd name="T22" fmla="*/ 50 w 247"/>
                <a:gd name="T23" fmla="*/ 180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7" h="429">
                  <a:moveTo>
                    <a:pt x="50" y="180"/>
                  </a:moveTo>
                  <a:cubicBezTo>
                    <a:pt x="36" y="194"/>
                    <a:pt x="36" y="194"/>
                    <a:pt x="36" y="194"/>
                  </a:cubicBezTo>
                  <a:cubicBezTo>
                    <a:pt x="25" y="205"/>
                    <a:pt x="13" y="213"/>
                    <a:pt x="0" y="220"/>
                  </a:cubicBezTo>
                  <a:cubicBezTo>
                    <a:pt x="0" y="371"/>
                    <a:pt x="0" y="371"/>
                    <a:pt x="0" y="371"/>
                  </a:cubicBezTo>
                  <a:cubicBezTo>
                    <a:pt x="0" y="403"/>
                    <a:pt x="26" y="429"/>
                    <a:pt x="58" y="429"/>
                  </a:cubicBezTo>
                  <a:cubicBezTo>
                    <a:pt x="189" y="429"/>
                    <a:pt x="189" y="429"/>
                    <a:pt x="189" y="429"/>
                  </a:cubicBezTo>
                  <a:cubicBezTo>
                    <a:pt x="221" y="429"/>
                    <a:pt x="247" y="403"/>
                    <a:pt x="247" y="371"/>
                  </a:cubicBezTo>
                  <a:cubicBezTo>
                    <a:pt x="247" y="41"/>
                    <a:pt x="247" y="41"/>
                    <a:pt x="247" y="41"/>
                  </a:cubicBezTo>
                  <a:cubicBezTo>
                    <a:pt x="247" y="25"/>
                    <a:pt x="241" y="10"/>
                    <a:pt x="230" y="0"/>
                  </a:cubicBezTo>
                  <a:lnTo>
                    <a:pt x="50" y="180"/>
                  </a:lnTo>
                  <a:close/>
                  <a:moveTo>
                    <a:pt x="50" y="180"/>
                  </a:moveTo>
                  <a:cubicBezTo>
                    <a:pt x="50" y="180"/>
                    <a:pt x="50" y="180"/>
                    <a:pt x="50" y="18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Arial"/>
                <a:sym typeface="Arial"/>
              </a:endParaRPr>
            </a:p>
          </p:txBody>
        </p: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50C02EAF-0993-CEC2-EF3E-CBDDBE992B33}"/>
                </a:ext>
              </a:extLst>
            </p:cNvPr>
            <p:cNvGrpSpPr/>
            <p:nvPr/>
          </p:nvGrpSpPr>
          <p:grpSpPr>
            <a:xfrm>
              <a:off x="-469900" y="3744913"/>
              <a:ext cx="314325" cy="998537"/>
              <a:chOff x="-469900" y="3744913"/>
              <a:chExt cx="314325" cy="998537"/>
            </a:xfrm>
            <a:grpFill/>
          </p:grpSpPr>
          <p:sp>
            <p:nvSpPr>
              <p:cNvPr id="47" name="Freeform 29">
                <a:extLst>
                  <a:ext uri="{FF2B5EF4-FFF2-40B4-BE49-F238E27FC236}">
                    <a16:creationId xmlns:a16="http://schemas.microsoft.com/office/drawing/2014/main" id="{8CED01F0-46CF-7BCA-3DB6-F4EB6179D92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469900" y="3744913"/>
                <a:ext cx="314325" cy="998537"/>
              </a:xfrm>
              <a:custGeom>
                <a:avLst/>
                <a:gdLst>
                  <a:gd name="T0" fmla="*/ 36 w 248"/>
                  <a:gd name="T1" fmla="*/ 211 h 787"/>
                  <a:gd name="T2" fmla="*/ 15 w 248"/>
                  <a:gd name="T3" fmla="*/ 233 h 787"/>
                  <a:gd name="T4" fmla="*/ 0 w 248"/>
                  <a:gd name="T5" fmla="*/ 247 h 787"/>
                  <a:gd name="T6" fmla="*/ 0 w 248"/>
                  <a:gd name="T7" fmla="*/ 729 h 787"/>
                  <a:gd name="T8" fmla="*/ 59 w 248"/>
                  <a:gd name="T9" fmla="*/ 787 h 787"/>
                  <a:gd name="T10" fmla="*/ 190 w 248"/>
                  <a:gd name="T11" fmla="*/ 787 h 787"/>
                  <a:gd name="T12" fmla="*/ 248 w 248"/>
                  <a:gd name="T13" fmla="*/ 729 h 787"/>
                  <a:gd name="T14" fmla="*/ 248 w 248"/>
                  <a:gd name="T15" fmla="*/ 8 h 787"/>
                  <a:gd name="T16" fmla="*/ 248 w 248"/>
                  <a:gd name="T17" fmla="*/ 0 h 787"/>
                  <a:gd name="T18" fmla="*/ 36 w 248"/>
                  <a:gd name="T19" fmla="*/ 211 h 787"/>
                  <a:gd name="T20" fmla="*/ 36 w 248"/>
                  <a:gd name="T21" fmla="*/ 211 h 787"/>
                  <a:gd name="T22" fmla="*/ 36 w 248"/>
                  <a:gd name="T23" fmla="*/ 211 h 7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48" h="787">
                    <a:moveTo>
                      <a:pt x="36" y="211"/>
                    </a:moveTo>
                    <a:cubicBezTo>
                      <a:pt x="15" y="233"/>
                      <a:pt x="15" y="233"/>
                      <a:pt x="15" y="233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729"/>
                      <a:pt x="0" y="729"/>
                      <a:pt x="0" y="729"/>
                    </a:cubicBezTo>
                    <a:cubicBezTo>
                      <a:pt x="0" y="761"/>
                      <a:pt x="27" y="787"/>
                      <a:pt x="59" y="787"/>
                    </a:cubicBezTo>
                    <a:cubicBezTo>
                      <a:pt x="190" y="787"/>
                      <a:pt x="190" y="787"/>
                      <a:pt x="190" y="787"/>
                    </a:cubicBezTo>
                    <a:cubicBezTo>
                      <a:pt x="222" y="787"/>
                      <a:pt x="248" y="761"/>
                      <a:pt x="248" y="729"/>
                    </a:cubicBezTo>
                    <a:cubicBezTo>
                      <a:pt x="248" y="8"/>
                      <a:pt x="248" y="8"/>
                      <a:pt x="248" y="8"/>
                    </a:cubicBezTo>
                    <a:cubicBezTo>
                      <a:pt x="248" y="5"/>
                      <a:pt x="248" y="3"/>
                      <a:pt x="248" y="0"/>
                    </a:cubicBezTo>
                    <a:lnTo>
                      <a:pt x="36" y="211"/>
                    </a:lnTo>
                    <a:close/>
                    <a:moveTo>
                      <a:pt x="36" y="211"/>
                    </a:moveTo>
                    <a:cubicBezTo>
                      <a:pt x="36" y="211"/>
                      <a:pt x="36" y="211"/>
                      <a:pt x="36" y="21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Ubuntu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F40A3367-7CAD-F0CC-0E89-AAEF732422F7}"/>
                  </a:ext>
                </a:extLst>
              </p:cNvPr>
              <p:cNvSpPr/>
              <p:nvPr/>
            </p:nvSpPr>
            <p:spPr>
              <a:xfrm>
                <a:off x="-284226" y="4392612"/>
                <a:ext cx="128651" cy="35083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  <a:sym typeface="Arial"/>
                </a:endParaRPr>
              </a:p>
            </p:txBody>
          </p:sp>
        </p:grp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06BB47AA-5F70-6510-FEEB-7D1D004A9F43}"/>
              </a:ext>
            </a:extLst>
          </p:cNvPr>
          <p:cNvSpPr txBox="1"/>
          <p:nvPr/>
        </p:nvSpPr>
        <p:spPr>
          <a:xfrm>
            <a:off x="9779377" y="4667081"/>
            <a:ext cx="1836000" cy="76944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Arial"/>
              </a:rPr>
              <a:t>Centralized insights for Regulatory Surveillance, Ingredient Risk Watch &amp; Consumer Trends.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ABDB"/>
              </a:solidFill>
              <a:effectLst/>
              <a:uLnTx/>
              <a:uFillTx/>
              <a:latin typeface="Ubuntu"/>
              <a:ea typeface="+mn-ea"/>
              <a:cs typeface="Arial"/>
            </a:endParaRPr>
          </a:p>
        </p:txBody>
      </p:sp>
      <p:grpSp>
        <p:nvGrpSpPr>
          <p:cNvPr id="50" name="Gruppieren 22">
            <a:extLst>
              <a:ext uri="{FF2B5EF4-FFF2-40B4-BE49-F238E27FC236}">
                <a16:creationId xmlns:a16="http://schemas.microsoft.com/office/drawing/2014/main" id="{1736732F-9979-D5EF-571E-03099A292F3D}"/>
              </a:ext>
            </a:extLst>
          </p:cNvPr>
          <p:cNvGrpSpPr/>
          <p:nvPr/>
        </p:nvGrpSpPr>
        <p:grpSpPr>
          <a:xfrm>
            <a:off x="8472264" y="4797152"/>
            <a:ext cx="860407" cy="438323"/>
            <a:chOff x="5188579" y="1694267"/>
            <a:chExt cx="404418" cy="1159984"/>
          </a:xfrm>
          <a:effectLst>
            <a:outerShdw blurRad="50800" dist="50800" dir="5400000" algn="ctr" rotWithShape="0">
              <a:srgbClr val="000000"/>
            </a:outerShdw>
          </a:effectLst>
        </p:grpSpPr>
        <p:sp>
          <p:nvSpPr>
            <p:cNvPr id="51" name="Freeform: Shape 38">
              <a:extLst>
                <a:ext uri="{FF2B5EF4-FFF2-40B4-BE49-F238E27FC236}">
                  <a16:creationId xmlns:a16="http://schemas.microsoft.com/office/drawing/2014/main" id="{BD22D138-D164-5678-1710-3B974EBE563B}"/>
                </a:ext>
              </a:extLst>
            </p:cNvPr>
            <p:cNvSpPr/>
            <p:nvPr/>
          </p:nvSpPr>
          <p:spPr>
            <a:xfrm>
              <a:off x="5288196" y="1694267"/>
              <a:ext cx="304801" cy="1142282"/>
            </a:xfrm>
            <a:custGeom>
              <a:avLst/>
              <a:gdLst/>
              <a:ahLst/>
              <a:cxnLst/>
              <a:rect l="0" t="0" r="0" b="0"/>
              <a:pathLst>
                <a:path w="304801" h="4392001">
                  <a:moveTo>
                    <a:pt x="0" y="0"/>
                  </a:moveTo>
                  <a:lnTo>
                    <a:pt x="304800" y="2196000"/>
                  </a:lnTo>
                  <a:lnTo>
                    <a:pt x="0" y="43920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52" name="Freeform: Shape 38">
              <a:extLst>
                <a:ext uri="{FF2B5EF4-FFF2-40B4-BE49-F238E27FC236}">
                  <a16:creationId xmlns:a16="http://schemas.microsoft.com/office/drawing/2014/main" id="{EE51D8DF-B4D5-1FA6-CF9F-32FB280A1299}"/>
                </a:ext>
              </a:extLst>
            </p:cNvPr>
            <p:cNvSpPr/>
            <p:nvPr/>
          </p:nvSpPr>
          <p:spPr>
            <a:xfrm>
              <a:off x="5188579" y="1711969"/>
              <a:ext cx="304801" cy="1142282"/>
            </a:xfrm>
            <a:custGeom>
              <a:avLst/>
              <a:gdLst/>
              <a:ahLst/>
              <a:cxnLst/>
              <a:rect l="0" t="0" r="0" b="0"/>
              <a:pathLst>
                <a:path w="304801" h="4392001">
                  <a:moveTo>
                    <a:pt x="0" y="0"/>
                  </a:moveTo>
                  <a:lnTo>
                    <a:pt x="304800" y="2196000"/>
                  </a:lnTo>
                  <a:lnTo>
                    <a:pt x="0" y="439200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</p:grpSp>
      <p:sp>
        <p:nvSpPr>
          <p:cNvPr id="53" name="TextBox 52">
            <a:extLst>
              <a:ext uri="{FF2B5EF4-FFF2-40B4-BE49-F238E27FC236}">
                <a16:creationId xmlns:a16="http://schemas.microsoft.com/office/drawing/2014/main" id="{EAC38953-3CEA-C6B3-38AA-581145D808E1}"/>
              </a:ext>
            </a:extLst>
          </p:cNvPr>
          <p:cNvSpPr txBox="1"/>
          <p:nvPr/>
        </p:nvSpPr>
        <p:spPr>
          <a:xfrm>
            <a:off x="9779376" y="3807336"/>
            <a:ext cx="1836000" cy="76944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Arial"/>
              </a:rPr>
              <a:t>Faster delivery of decision-ready, evidence-based reports.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ABDB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grpSp>
        <p:nvGrpSpPr>
          <p:cNvPr id="54" name="Gruppieren 22">
            <a:extLst>
              <a:ext uri="{FF2B5EF4-FFF2-40B4-BE49-F238E27FC236}">
                <a16:creationId xmlns:a16="http://schemas.microsoft.com/office/drawing/2014/main" id="{7C23A448-C261-C01D-2927-3A83E18D1B60}"/>
              </a:ext>
            </a:extLst>
          </p:cNvPr>
          <p:cNvGrpSpPr/>
          <p:nvPr/>
        </p:nvGrpSpPr>
        <p:grpSpPr>
          <a:xfrm>
            <a:off x="8472264" y="3926781"/>
            <a:ext cx="860407" cy="438323"/>
            <a:chOff x="5188579" y="1694267"/>
            <a:chExt cx="404418" cy="1159984"/>
          </a:xfrm>
          <a:effectLst>
            <a:outerShdw blurRad="50800" dist="50800" dir="5400000" algn="ctr" rotWithShape="0">
              <a:srgbClr val="000000"/>
            </a:outerShdw>
          </a:effectLst>
        </p:grpSpPr>
        <p:sp>
          <p:nvSpPr>
            <p:cNvPr id="55" name="Freeform: Shape 38">
              <a:extLst>
                <a:ext uri="{FF2B5EF4-FFF2-40B4-BE49-F238E27FC236}">
                  <a16:creationId xmlns:a16="http://schemas.microsoft.com/office/drawing/2014/main" id="{41B320B5-CB27-B11F-DAEE-4B8E662D8C26}"/>
                </a:ext>
              </a:extLst>
            </p:cNvPr>
            <p:cNvSpPr/>
            <p:nvPr/>
          </p:nvSpPr>
          <p:spPr>
            <a:xfrm>
              <a:off x="5288196" y="1694267"/>
              <a:ext cx="304801" cy="1142282"/>
            </a:xfrm>
            <a:custGeom>
              <a:avLst/>
              <a:gdLst/>
              <a:ahLst/>
              <a:cxnLst/>
              <a:rect l="0" t="0" r="0" b="0"/>
              <a:pathLst>
                <a:path w="304801" h="4392001">
                  <a:moveTo>
                    <a:pt x="0" y="0"/>
                  </a:moveTo>
                  <a:lnTo>
                    <a:pt x="304800" y="2196000"/>
                  </a:lnTo>
                  <a:lnTo>
                    <a:pt x="0" y="43920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56" name="Freeform: Shape 38">
              <a:extLst>
                <a:ext uri="{FF2B5EF4-FFF2-40B4-BE49-F238E27FC236}">
                  <a16:creationId xmlns:a16="http://schemas.microsoft.com/office/drawing/2014/main" id="{AF83F81A-E934-C3C1-7496-4968200A5E05}"/>
                </a:ext>
              </a:extLst>
            </p:cNvPr>
            <p:cNvSpPr/>
            <p:nvPr/>
          </p:nvSpPr>
          <p:spPr>
            <a:xfrm>
              <a:off x="5188579" y="1711969"/>
              <a:ext cx="304801" cy="1142282"/>
            </a:xfrm>
            <a:custGeom>
              <a:avLst/>
              <a:gdLst/>
              <a:ahLst/>
              <a:cxnLst/>
              <a:rect l="0" t="0" r="0" b="0"/>
              <a:pathLst>
                <a:path w="304801" h="4392001">
                  <a:moveTo>
                    <a:pt x="0" y="0"/>
                  </a:moveTo>
                  <a:lnTo>
                    <a:pt x="304800" y="2196000"/>
                  </a:lnTo>
                  <a:lnTo>
                    <a:pt x="0" y="439200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</p:grpSp>
      <p:sp>
        <p:nvSpPr>
          <p:cNvPr id="65" name="Titre 3">
            <a:extLst>
              <a:ext uri="{FF2B5EF4-FFF2-40B4-BE49-F238E27FC236}">
                <a16:creationId xmlns:a16="http://schemas.microsoft.com/office/drawing/2014/main" id="{5DB934EB-1B29-F341-27C7-E49B66C14860}"/>
              </a:ext>
            </a:extLst>
          </p:cNvPr>
          <p:cNvSpPr txBox="1">
            <a:spLocks/>
          </p:cNvSpPr>
          <p:nvPr/>
        </p:nvSpPr>
        <p:spPr>
          <a:xfrm>
            <a:off x="286320" y="272365"/>
            <a:ext cx="11210455" cy="3922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GB" sz="2600" b="0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2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 </a:t>
            </a:r>
            <a:r>
              <a:rPr kumimoji="0" lang="fr-FR" sz="2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Pharma </a:t>
            </a:r>
            <a:r>
              <a:rPr kumimoji="0" lang="fr-FR" sz="28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literature</a:t>
            </a:r>
            <a:r>
              <a:rPr kumimoji="0" lang="fr-FR" sz="2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 assistant – value </a:t>
            </a:r>
            <a:r>
              <a:rPr kumimoji="0" lang="fr-FR" sz="28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chain</a:t>
            </a:r>
            <a:r>
              <a:rPr kumimoji="0" lang="fr-FR" sz="2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 automation</a:t>
            </a:r>
            <a:endParaRPr kumimoji="0" lang="en-US" sz="2800" b="0" i="0" u="none" strike="noStrike" kern="120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C1DC65AA-3B6F-A9FD-6F85-C13A220CD42D}"/>
              </a:ext>
            </a:extLst>
          </p:cNvPr>
          <p:cNvSpPr txBox="1"/>
          <p:nvPr/>
        </p:nvSpPr>
        <p:spPr>
          <a:xfrm>
            <a:off x="9794126" y="5526826"/>
            <a:ext cx="1836000" cy="7200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Arial"/>
              </a:rPr>
              <a:t>Enables to track ESG, flag regulatory risks &amp; extract competitive intelligence.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ABDB"/>
              </a:solidFill>
              <a:effectLst/>
              <a:uLnTx/>
              <a:uFillTx/>
              <a:latin typeface="Ubuntu"/>
              <a:ea typeface="+mn-ea"/>
              <a:cs typeface="Arial"/>
            </a:endParaRPr>
          </a:p>
        </p:txBody>
      </p:sp>
      <p:grpSp>
        <p:nvGrpSpPr>
          <p:cNvPr id="59" name="Gruppieren 22">
            <a:extLst>
              <a:ext uri="{FF2B5EF4-FFF2-40B4-BE49-F238E27FC236}">
                <a16:creationId xmlns:a16="http://schemas.microsoft.com/office/drawing/2014/main" id="{F5166368-98AF-0BA1-44A6-81FA44872387}"/>
              </a:ext>
            </a:extLst>
          </p:cNvPr>
          <p:cNvGrpSpPr/>
          <p:nvPr/>
        </p:nvGrpSpPr>
        <p:grpSpPr>
          <a:xfrm>
            <a:off x="8472264" y="5716470"/>
            <a:ext cx="860407" cy="438323"/>
            <a:chOff x="5188579" y="1694267"/>
            <a:chExt cx="404418" cy="1159984"/>
          </a:xfrm>
          <a:effectLst>
            <a:outerShdw blurRad="50800" dist="50800" dir="5400000" algn="ctr" rotWithShape="0">
              <a:srgbClr val="000000"/>
            </a:outerShdw>
          </a:effectLst>
        </p:grpSpPr>
        <p:sp>
          <p:nvSpPr>
            <p:cNvPr id="60" name="Freeform: Shape 38">
              <a:extLst>
                <a:ext uri="{FF2B5EF4-FFF2-40B4-BE49-F238E27FC236}">
                  <a16:creationId xmlns:a16="http://schemas.microsoft.com/office/drawing/2014/main" id="{8D6B59FE-E731-E585-3E80-37DB65EFD830}"/>
                </a:ext>
              </a:extLst>
            </p:cNvPr>
            <p:cNvSpPr/>
            <p:nvPr/>
          </p:nvSpPr>
          <p:spPr>
            <a:xfrm>
              <a:off x="5288196" y="1694267"/>
              <a:ext cx="304801" cy="1142282"/>
            </a:xfrm>
            <a:custGeom>
              <a:avLst/>
              <a:gdLst/>
              <a:ahLst/>
              <a:cxnLst/>
              <a:rect l="0" t="0" r="0" b="0"/>
              <a:pathLst>
                <a:path w="304801" h="4392001">
                  <a:moveTo>
                    <a:pt x="0" y="0"/>
                  </a:moveTo>
                  <a:lnTo>
                    <a:pt x="304800" y="2196000"/>
                  </a:lnTo>
                  <a:lnTo>
                    <a:pt x="0" y="43920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61" name="Freeform: Shape 38">
              <a:extLst>
                <a:ext uri="{FF2B5EF4-FFF2-40B4-BE49-F238E27FC236}">
                  <a16:creationId xmlns:a16="http://schemas.microsoft.com/office/drawing/2014/main" id="{8DED6BD3-405D-0218-BE92-9AF252ED57BD}"/>
                </a:ext>
              </a:extLst>
            </p:cNvPr>
            <p:cNvSpPr/>
            <p:nvPr/>
          </p:nvSpPr>
          <p:spPr>
            <a:xfrm>
              <a:off x="5188579" y="1711969"/>
              <a:ext cx="304801" cy="1142282"/>
            </a:xfrm>
            <a:custGeom>
              <a:avLst/>
              <a:gdLst/>
              <a:ahLst/>
              <a:cxnLst/>
              <a:rect l="0" t="0" r="0" b="0"/>
              <a:pathLst>
                <a:path w="304801" h="4392001">
                  <a:moveTo>
                    <a:pt x="0" y="0"/>
                  </a:moveTo>
                  <a:lnTo>
                    <a:pt x="304800" y="2196000"/>
                  </a:lnTo>
                  <a:lnTo>
                    <a:pt x="0" y="439200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41127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EDDD6B-F739-D122-ADBE-DA01B32B52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TextBox 70">
            <a:extLst>
              <a:ext uri="{FF2B5EF4-FFF2-40B4-BE49-F238E27FC236}">
                <a16:creationId xmlns:a16="http://schemas.microsoft.com/office/drawing/2014/main" id="{85D0C54D-B1C2-F803-5A53-AA3C231DA29E}"/>
              </a:ext>
            </a:extLst>
          </p:cNvPr>
          <p:cNvSpPr txBox="1"/>
          <p:nvPr/>
        </p:nvSpPr>
        <p:spPr>
          <a:xfrm>
            <a:off x="2406721" y="3530100"/>
            <a:ext cx="2032479" cy="861726"/>
          </a:xfrm>
          <a:prstGeom prst="rect">
            <a:avLst/>
          </a:prstGeom>
          <a:noFill/>
        </p:spPr>
        <p:txBody>
          <a:bodyPr wrap="square" lIns="91416" tIns="91416" rIns="91416" bIns="91416" rtlCol="0">
            <a:sp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earches PubMed, PDFs, etc., using keywords and filters to find relevant research papers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92" name="Graphic 91">
            <a:extLst>
              <a:ext uri="{FF2B5EF4-FFF2-40B4-BE49-F238E27FC236}">
                <a16:creationId xmlns:a16="http://schemas.microsoft.com/office/drawing/2014/main" id="{2A335928-306A-AE12-C1F2-AA3B532830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93737" y="3289562"/>
            <a:ext cx="301673" cy="301673"/>
          </a:xfrm>
          <a:prstGeom prst="rect">
            <a:avLst/>
          </a:prstGeom>
        </p:spPr>
      </p:pic>
      <p:sp>
        <p:nvSpPr>
          <p:cNvPr id="115" name="Text Placeholder 4">
            <a:extLst>
              <a:ext uri="{FF2B5EF4-FFF2-40B4-BE49-F238E27FC236}">
                <a16:creationId xmlns:a16="http://schemas.microsoft.com/office/drawing/2014/main" id="{B095E692-57DA-3876-164F-E2CEF69DB698}"/>
              </a:ext>
            </a:extLst>
          </p:cNvPr>
          <p:cNvSpPr txBox="1">
            <a:spLocks/>
          </p:cNvSpPr>
          <p:nvPr/>
        </p:nvSpPr>
        <p:spPr>
          <a:xfrm>
            <a:off x="2713194" y="5328796"/>
            <a:ext cx="1713365" cy="276927"/>
          </a:xfrm>
          <a:prstGeom prst="rect">
            <a:avLst/>
          </a:prstGeom>
        </p:spPr>
        <p:txBody>
          <a:bodyPr lIns="91440" tIns="45720" rIns="91440" bIns="45720" anchor="t"/>
          <a:lstStyle>
            <a:defPPr>
              <a:defRPr lang="en-US"/>
            </a:defPPr>
            <a:lvl1pPr indent="0" algn="ctr" defTabSz="457063">
              <a:spcBef>
                <a:spcPts val="1000"/>
              </a:spcBef>
              <a:buFont typeface="Arial"/>
              <a:buNone/>
              <a:defRPr sz="1200" b="1">
                <a:latin typeface="Arial"/>
                <a:cs typeface="Arial"/>
              </a:defRPr>
            </a:lvl1pPr>
            <a:lvl2pPr marL="174573" indent="-174573" defTabSz="457063">
              <a:spcBef>
                <a:spcPts val="500"/>
              </a:spcBef>
              <a:buClr>
                <a:schemeClr val="tx1"/>
              </a:buClr>
              <a:buFont typeface="Arial"/>
              <a:buChar char="•"/>
              <a:defRPr sz="1999">
                <a:latin typeface="Arial"/>
                <a:cs typeface="Arial"/>
              </a:defRPr>
            </a:lvl2pPr>
            <a:lvl3pPr marL="339623" indent="-165050" defTabSz="457063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  <a:defRPr sz="1999">
                <a:latin typeface="Arial"/>
                <a:cs typeface="Arial"/>
              </a:defRPr>
            </a:lvl3pPr>
            <a:lvl4pPr marL="512609" indent="-172986" defTabSz="457063">
              <a:spcBef>
                <a:spcPts val="200"/>
              </a:spcBef>
              <a:buClr>
                <a:schemeClr val="tx1"/>
              </a:buClr>
              <a:buFont typeface="Arial"/>
              <a:buChar char="•"/>
              <a:defRPr sz="1999">
                <a:latin typeface="Arial"/>
                <a:cs typeface="Arial"/>
              </a:defRPr>
            </a:lvl4pPr>
            <a:lvl5pPr marL="687182" indent="-174573" defTabSz="457063">
              <a:spcBef>
                <a:spcPts val="100"/>
              </a:spcBef>
              <a:buClr>
                <a:schemeClr val="tx1"/>
              </a:buClr>
              <a:buFont typeface="Lucida Grande"/>
              <a:buChar char="-"/>
              <a:defRPr sz="1999">
                <a:latin typeface="Arial"/>
                <a:cs typeface="Arial"/>
              </a:defRPr>
            </a:lvl5pPr>
            <a:lvl6pPr marL="2513846" indent="-228531" defTabSz="457063">
              <a:spcBef>
                <a:spcPct val="20000"/>
              </a:spcBef>
              <a:buFont typeface="Arial"/>
              <a:buChar char="•"/>
              <a:defRPr sz="1999"/>
            </a:lvl6pPr>
            <a:lvl7pPr marL="2970908" indent="-228531" defTabSz="457063">
              <a:spcBef>
                <a:spcPct val="20000"/>
              </a:spcBef>
              <a:buFont typeface="Arial"/>
              <a:buChar char="•"/>
              <a:defRPr sz="1999"/>
            </a:lvl7pPr>
            <a:lvl8pPr marL="3427971" indent="-228531" defTabSz="457063">
              <a:spcBef>
                <a:spcPct val="20000"/>
              </a:spcBef>
              <a:buFont typeface="Arial"/>
              <a:buChar char="•"/>
              <a:defRPr sz="1999"/>
            </a:lvl8pPr>
            <a:lvl9pPr marL="3885034" indent="-228531" defTabSz="457063">
              <a:spcBef>
                <a:spcPct val="20000"/>
              </a:spcBef>
              <a:buFont typeface="Arial"/>
              <a:buChar char="•"/>
              <a:defRPr sz="1999"/>
            </a:lvl9pPr>
          </a:lstStyle>
          <a:p>
            <a:pPr marL="0" marR="0" lvl="0" indent="0" algn="ctr" defTabSz="457063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Arial"/>
              </a:rPr>
              <a:t>Retriever Agents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Arial"/>
            </a:endParaRPr>
          </a:p>
        </p:txBody>
      </p:sp>
      <p:pic>
        <p:nvPicPr>
          <p:cNvPr id="116" name="Picture Placeholder 33" descr="Man wearing glasses in office">
            <a:extLst>
              <a:ext uri="{FF2B5EF4-FFF2-40B4-BE49-F238E27FC236}">
                <a16:creationId xmlns:a16="http://schemas.microsoft.com/office/drawing/2014/main" id="{520CF0D8-552C-9A94-4821-D194DE6F022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58" r="16658"/>
          <a:stretch/>
        </p:blipFill>
        <p:spPr>
          <a:xfrm>
            <a:off x="572438" y="968224"/>
            <a:ext cx="1066800" cy="1066523"/>
          </a:xfrm>
          <a:prstGeom prst="ellipse">
            <a:avLst/>
          </a:prstGeom>
        </p:spPr>
      </p:pic>
      <p:sp>
        <p:nvSpPr>
          <p:cNvPr id="118" name="Text Placeholder 11">
            <a:extLst>
              <a:ext uri="{FF2B5EF4-FFF2-40B4-BE49-F238E27FC236}">
                <a16:creationId xmlns:a16="http://schemas.microsoft.com/office/drawing/2014/main" id="{8D0577CF-B23F-742C-905E-ABA1E975D569}"/>
              </a:ext>
            </a:extLst>
          </p:cNvPr>
          <p:cNvSpPr txBox="1">
            <a:spLocks/>
          </p:cNvSpPr>
          <p:nvPr/>
        </p:nvSpPr>
        <p:spPr>
          <a:xfrm>
            <a:off x="369387" y="2027128"/>
            <a:ext cx="1523753" cy="231870"/>
          </a:xfrm>
          <a:prstGeom prst="rect">
            <a:avLst/>
          </a:prstGeom>
        </p:spPr>
        <p:txBody>
          <a:bodyPr lIns="91440" tIns="45720" rIns="91440" bIns="45720" anchor="t"/>
          <a:lstStyle>
            <a:defPPr>
              <a:defRPr lang="en-US"/>
            </a:defPPr>
            <a:lvl1pPr indent="0" algn="ctr" defTabSz="457063">
              <a:spcBef>
                <a:spcPts val="1000"/>
              </a:spcBef>
              <a:buFont typeface="Arial"/>
              <a:buNone/>
              <a:defRPr sz="1200" b="1">
                <a:latin typeface="Arial"/>
                <a:cs typeface="Arial"/>
              </a:defRPr>
            </a:lvl1pPr>
            <a:lvl2pPr marL="174573" indent="-174573" defTabSz="457063">
              <a:spcBef>
                <a:spcPts val="500"/>
              </a:spcBef>
              <a:buClr>
                <a:schemeClr val="tx1"/>
              </a:buClr>
              <a:buFont typeface="Arial"/>
              <a:buChar char="•"/>
              <a:defRPr sz="1999">
                <a:latin typeface="Arial"/>
                <a:cs typeface="Arial"/>
              </a:defRPr>
            </a:lvl2pPr>
            <a:lvl3pPr marL="339623" indent="-165050" defTabSz="457063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  <a:defRPr sz="1999">
                <a:latin typeface="Arial"/>
                <a:cs typeface="Arial"/>
              </a:defRPr>
            </a:lvl3pPr>
            <a:lvl4pPr marL="512609" indent="-172986" defTabSz="457063">
              <a:spcBef>
                <a:spcPts val="200"/>
              </a:spcBef>
              <a:buClr>
                <a:schemeClr val="tx1"/>
              </a:buClr>
              <a:buFont typeface="Arial"/>
              <a:buChar char="•"/>
              <a:defRPr sz="1999">
                <a:latin typeface="Arial"/>
                <a:cs typeface="Arial"/>
              </a:defRPr>
            </a:lvl4pPr>
            <a:lvl5pPr marL="687182" indent="-174573" defTabSz="457063">
              <a:spcBef>
                <a:spcPts val="100"/>
              </a:spcBef>
              <a:buClr>
                <a:schemeClr val="tx1"/>
              </a:buClr>
              <a:buFont typeface="Lucida Grande"/>
              <a:buChar char="-"/>
              <a:defRPr sz="1999">
                <a:latin typeface="Arial"/>
                <a:cs typeface="Arial"/>
              </a:defRPr>
            </a:lvl5pPr>
            <a:lvl6pPr marL="2513846" indent="-228531" defTabSz="457063">
              <a:spcBef>
                <a:spcPct val="20000"/>
              </a:spcBef>
              <a:buFont typeface="Arial"/>
              <a:buChar char="•"/>
              <a:defRPr sz="1999"/>
            </a:lvl6pPr>
            <a:lvl7pPr marL="2970908" indent="-228531" defTabSz="457063">
              <a:spcBef>
                <a:spcPct val="20000"/>
              </a:spcBef>
              <a:buFont typeface="Arial"/>
              <a:buChar char="•"/>
              <a:defRPr sz="1999"/>
            </a:lvl7pPr>
            <a:lvl8pPr marL="3427971" indent="-228531" defTabSz="457063">
              <a:spcBef>
                <a:spcPct val="20000"/>
              </a:spcBef>
              <a:buFont typeface="Arial"/>
              <a:buChar char="•"/>
              <a:defRPr sz="1999"/>
            </a:lvl8pPr>
            <a:lvl9pPr marL="3885034" indent="-228531" defTabSz="457063">
              <a:spcBef>
                <a:spcPct val="20000"/>
              </a:spcBef>
              <a:buFont typeface="Arial"/>
              <a:buChar char="•"/>
              <a:defRPr sz="1999"/>
            </a:lvl9pPr>
          </a:lstStyle>
          <a:p>
            <a:pPr marL="0" marR="0" lvl="0" indent="0" algn="ctr" defTabSz="457063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Arial"/>
              </a:rPr>
              <a:t>Research Planner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Arial"/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7BE5BFD0-0A0D-C379-0E24-CFAD67283458}"/>
              </a:ext>
            </a:extLst>
          </p:cNvPr>
          <p:cNvSpPr txBox="1"/>
          <p:nvPr/>
        </p:nvSpPr>
        <p:spPr>
          <a:xfrm>
            <a:off x="263919" y="3601193"/>
            <a:ext cx="2133622" cy="55394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indent="0" algn="ctr" defTabSz="457063">
              <a:spcBef>
                <a:spcPts val="1000"/>
              </a:spcBef>
              <a:buFont typeface="Arial"/>
              <a:buNone/>
              <a:defRPr sz="1200" b="1">
                <a:latin typeface="Arial"/>
                <a:cs typeface="Arial"/>
              </a:defRPr>
            </a:lvl1pPr>
            <a:lvl2pPr marL="174573" indent="-174573" defTabSz="457063">
              <a:spcBef>
                <a:spcPts val="500"/>
              </a:spcBef>
              <a:buClr>
                <a:schemeClr val="tx1"/>
              </a:buClr>
              <a:buFont typeface="Arial"/>
              <a:buChar char="•"/>
              <a:defRPr sz="1999">
                <a:latin typeface="Arial"/>
                <a:cs typeface="Arial"/>
              </a:defRPr>
            </a:lvl2pPr>
            <a:lvl3pPr marL="339623" indent="-165050" defTabSz="457063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  <a:defRPr sz="1999">
                <a:latin typeface="Arial"/>
                <a:cs typeface="Arial"/>
              </a:defRPr>
            </a:lvl3pPr>
            <a:lvl4pPr marL="512609" indent="-172986" defTabSz="457063">
              <a:spcBef>
                <a:spcPts val="200"/>
              </a:spcBef>
              <a:buClr>
                <a:schemeClr val="tx1"/>
              </a:buClr>
              <a:buFont typeface="Arial"/>
              <a:buChar char="•"/>
              <a:defRPr sz="1999">
                <a:latin typeface="Arial"/>
                <a:cs typeface="Arial"/>
              </a:defRPr>
            </a:lvl4pPr>
            <a:lvl5pPr marL="687182" indent="-174573" defTabSz="457063">
              <a:spcBef>
                <a:spcPts val="100"/>
              </a:spcBef>
              <a:buClr>
                <a:schemeClr val="tx1"/>
              </a:buClr>
              <a:buFont typeface="Lucida Grande"/>
              <a:buChar char="-"/>
              <a:defRPr sz="1999">
                <a:latin typeface="Arial"/>
                <a:cs typeface="Arial"/>
              </a:defRPr>
            </a:lvl5pPr>
            <a:lvl6pPr marL="2513846" indent="-228531" defTabSz="457063">
              <a:spcBef>
                <a:spcPct val="20000"/>
              </a:spcBef>
              <a:buFont typeface="Arial"/>
              <a:buChar char="•"/>
              <a:defRPr sz="1999"/>
            </a:lvl6pPr>
            <a:lvl7pPr marL="2970908" indent="-228531" defTabSz="457063">
              <a:spcBef>
                <a:spcPct val="20000"/>
              </a:spcBef>
              <a:buFont typeface="Arial"/>
              <a:buChar char="•"/>
              <a:defRPr sz="1999"/>
            </a:lvl7pPr>
            <a:lvl8pPr marL="3427971" indent="-228531" defTabSz="457063">
              <a:spcBef>
                <a:spcPct val="20000"/>
              </a:spcBef>
              <a:buFont typeface="Arial"/>
              <a:buChar char="•"/>
              <a:defRPr sz="1999"/>
            </a:lvl8pPr>
            <a:lvl9pPr marL="3885034" indent="-228531" defTabSz="457063">
              <a:spcBef>
                <a:spcPct val="20000"/>
              </a:spcBef>
              <a:buFont typeface="Arial"/>
              <a:buChar char="•"/>
              <a:defRPr sz="1999"/>
            </a:lvl9pPr>
          </a:lstStyle>
          <a:p>
            <a:pPr marL="0" marR="0" lvl="0" indent="0" algn="ctr" defTabSz="457063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Arial"/>
              </a:rPr>
              <a:t>Defines the report structure and breaks down the topic into logical sections and sub-questions</a:t>
            </a:r>
          </a:p>
        </p:txBody>
      </p:sp>
      <p:pic>
        <p:nvPicPr>
          <p:cNvPr id="19" name="Graphic 18" descr="Artificial Intelligence with solid fill">
            <a:extLst>
              <a:ext uri="{FF2B5EF4-FFF2-40B4-BE49-F238E27FC236}">
                <a16:creationId xmlns:a16="http://schemas.microsoft.com/office/drawing/2014/main" id="{78ECC645-43F3-548C-738B-8E9D3FA9CDD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2983223" y="4555578"/>
            <a:ext cx="841093" cy="809485"/>
          </a:xfrm>
          <a:prstGeom prst="rect">
            <a:avLst/>
          </a:prstGeom>
        </p:spPr>
      </p:pic>
      <p:pic>
        <p:nvPicPr>
          <p:cNvPr id="20" name="Graphic 19" descr="Artificial Intelligence with solid fill">
            <a:extLst>
              <a:ext uri="{FF2B5EF4-FFF2-40B4-BE49-F238E27FC236}">
                <a16:creationId xmlns:a16="http://schemas.microsoft.com/office/drawing/2014/main" id="{45F554C7-DFAF-4BA6-8DB7-29F6616FA03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5229421" y="4557444"/>
            <a:ext cx="841093" cy="809485"/>
          </a:xfrm>
          <a:prstGeom prst="rect">
            <a:avLst/>
          </a:prstGeom>
        </p:spPr>
      </p:pic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CF1559BF-8A01-4454-AD47-7C1C8D37442B}"/>
              </a:ext>
            </a:extLst>
          </p:cNvPr>
          <p:cNvSpPr txBox="1">
            <a:spLocks/>
          </p:cNvSpPr>
          <p:nvPr/>
        </p:nvSpPr>
        <p:spPr>
          <a:xfrm>
            <a:off x="2649777" y="2034747"/>
            <a:ext cx="1495827" cy="236369"/>
          </a:xfrm>
          <a:prstGeom prst="rect">
            <a:avLst/>
          </a:prstGeom>
        </p:spPr>
        <p:txBody>
          <a:bodyPr lIns="91440" tIns="45720" rIns="91440" bIns="45720" anchor="t"/>
          <a:lstStyle>
            <a:defPPr>
              <a:defRPr lang="en-US"/>
            </a:defPPr>
            <a:lvl1pPr indent="0" algn="ctr" defTabSz="457063">
              <a:spcBef>
                <a:spcPts val="1000"/>
              </a:spcBef>
              <a:buFont typeface="Arial"/>
              <a:buNone/>
              <a:defRPr sz="1200" b="1">
                <a:latin typeface="Arial"/>
                <a:cs typeface="Arial"/>
              </a:defRPr>
            </a:lvl1pPr>
            <a:lvl2pPr marL="174573" indent="-174573" defTabSz="457063">
              <a:spcBef>
                <a:spcPts val="500"/>
              </a:spcBef>
              <a:buClr>
                <a:schemeClr val="tx1"/>
              </a:buClr>
              <a:buFont typeface="Arial"/>
              <a:buChar char="•"/>
              <a:defRPr sz="1999">
                <a:latin typeface="Arial"/>
                <a:cs typeface="Arial"/>
              </a:defRPr>
            </a:lvl2pPr>
            <a:lvl3pPr marL="339623" indent="-165050" defTabSz="457063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  <a:defRPr sz="1999">
                <a:latin typeface="Arial"/>
                <a:cs typeface="Arial"/>
              </a:defRPr>
            </a:lvl3pPr>
            <a:lvl4pPr marL="512609" indent="-172986" defTabSz="457063">
              <a:spcBef>
                <a:spcPts val="200"/>
              </a:spcBef>
              <a:buClr>
                <a:schemeClr val="tx1"/>
              </a:buClr>
              <a:buFont typeface="Arial"/>
              <a:buChar char="•"/>
              <a:defRPr sz="1999">
                <a:latin typeface="Arial"/>
                <a:cs typeface="Arial"/>
              </a:defRPr>
            </a:lvl4pPr>
            <a:lvl5pPr marL="687182" indent="-174573" defTabSz="457063">
              <a:spcBef>
                <a:spcPts val="100"/>
              </a:spcBef>
              <a:buClr>
                <a:schemeClr val="tx1"/>
              </a:buClr>
              <a:buFont typeface="Lucida Grande"/>
              <a:buChar char="-"/>
              <a:defRPr sz="1999">
                <a:latin typeface="Arial"/>
                <a:cs typeface="Arial"/>
              </a:defRPr>
            </a:lvl5pPr>
            <a:lvl6pPr marL="2513846" indent="-228531" defTabSz="457063">
              <a:spcBef>
                <a:spcPct val="20000"/>
              </a:spcBef>
              <a:buFont typeface="Arial"/>
              <a:buChar char="•"/>
              <a:defRPr sz="1999"/>
            </a:lvl6pPr>
            <a:lvl7pPr marL="2970908" indent="-228531" defTabSz="457063">
              <a:spcBef>
                <a:spcPct val="20000"/>
              </a:spcBef>
              <a:buFont typeface="Arial"/>
              <a:buChar char="•"/>
              <a:defRPr sz="1999"/>
            </a:lvl7pPr>
            <a:lvl8pPr marL="3427971" indent="-228531" defTabSz="457063">
              <a:spcBef>
                <a:spcPct val="20000"/>
              </a:spcBef>
              <a:buFont typeface="Arial"/>
              <a:buChar char="•"/>
              <a:defRPr sz="1999"/>
            </a:lvl8pPr>
            <a:lvl9pPr marL="3885034" indent="-228531" defTabSz="457063">
              <a:spcBef>
                <a:spcPct val="20000"/>
              </a:spcBef>
              <a:buFont typeface="Arial"/>
              <a:buChar char="•"/>
              <a:defRPr sz="1999"/>
            </a:lvl9pPr>
          </a:lstStyle>
          <a:p>
            <a:pPr marL="0" marR="0" lvl="0" indent="0" algn="ctr" defTabSz="457063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Arial"/>
              </a:rPr>
              <a:t>Literature Search Specialist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Arial"/>
            </a:endParaRP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C9FEF52C-233F-2EBA-58A9-BF8408FCDAB0}"/>
              </a:ext>
            </a:extLst>
          </p:cNvPr>
          <p:cNvSpPr txBox="1">
            <a:spLocks/>
          </p:cNvSpPr>
          <p:nvPr/>
        </p:nvSpPr>
        <p:spPr>
          <a:xfrm>
            <a:off x="7009419" y="2069856"/>
            <a:ext cx="2320756" cy="366495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457063" rtl="0" eaLnBrk="1" latinLnBrk="0" hangingPunct="1">
              <a:spcBef>
                <a:spcPts val="1000"/>
              </a:spcBef>
              <a:buFont typeface="Arial"/>
              <a:buNone/>
              <a:defRPr sz="1999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4573" indent="-174573" algn="l" defTabSz="457063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  <a:defRPr sz="1999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623" indent="-165050" algn="l" defTabSz="457063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  <a:defRPr sz="1999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609" indent="-172986" algn="l" defTabSz="457063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  <a:defRPr sz="1999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182" indent="-174573" algn="l" defTabSz="457063" rtl="0" eaLnBrk="1" latinLnBrk="0" hangingPunct="1">
              <a:spcBef>
                <a:spcPts val="100"/>
              </a:spcBef>
              <a:buClr>
                <a:schemeClr val="tx1"/>
              </a:buClr>
              <a:buFont typeface="Lucida Grande"/>
              <a:buChar char="-"/>
              <a:defRPr sz="1999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3846" indent="-228531" algn="l" defTabSz="457063" rtl="0" eaLnBrk="1" latinLnBrk="0" hangingPunct="1">
              <a:spcBef>
                <a:spcPct val="20000"/>
              </a:spcBef>
              <a:buFont typeface="Arial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457063" rtl="0" eaLnBrk="1" latinLnBrk="0" hangingPunct="1">
              <a:spcBef>
                <a:spcPct val="20000"/>
              </a:spcBef>
              <a:buFont typeface="Arial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457063" rtl="0" eaLnBrk="1" latinLnBrk="0" hangingPunct="1">
              <a:spcBef>
                <a:spcPct val="20000"/>
              </a:spcBef>
              <a:buFont typeface="Arial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457063" rtl="0" eaLnBrk="1" latinLnBrk="0" hangingPunct="1">
              <a:spcBef>
                <a:spcPct val="20000"/>
              </a:spcBef>
              <a:buFont typeface="Arial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63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Arial"/>
              </a:rPr>
              <a:t>QA Analyst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Arial"/>
            </a:endParaRP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664F4625-0125-79DD-60D2-C5A3EFCEF7AD}"/>
              </a:ext>
            </a:extLst>
          </p:cNvPr>
          <p:cNvSpPr txBox="1">
            <a:spLocks/>
          </p:cNvSpPr>
          <p:nvPr/>
        </p:nvSpPr>
        <p:spPr>
          <a:xfrm>
            <a:off x="5053701" y="5365063"/>
            <a:ext cx="1402364" cy="276927"/>
          </a:xfrm>
          <a:prstGeom prst="rect">
            <a:avLst/>
          </a:prstGeom>
        </p:spPr>
        <p:txBody>
          <a:bodyPr lIns="91440" tIns="45720" rIns="91440" bIns="45720" anchor="t"/>
          <a:lstStyle>
            <a:defPPr>
              <a:defRPr lang="en-US"/>
            </a:defPPr>
            <a:lvl1pPr indent="0" algn="ctr" defTabSz="457063">
              <a:spcBef>
                <a:spcPts val="1000"/>
              </a:spcBef>
              <a:buFont typeface="Arial"/>
              <a:buNone/>
              <a:defRPr sz="1200" b="1">
                <a:latin typeface="Arial"/>
                <a:cs typeface="Arial"/>
              </a:defRPr>
            </a:lvl1pPr>
            <a:lvl2pPr marL="174573" indent="-174573" defTabSz="457063">
              <a:spcBef>
                <a:spcPts val="500"/>
              </a:spcBef>
              <a:buClr>
                <a:schemeClr val="tx1"/>
              </a:buClr>
              <a:buFont typeface="Arial"/>
              <a:buChar char="•"/>
              <a:defRPr sz="1999">
                <a:latin typeface="Arial"/>
                <a:cs typeface="Arial"/>
              </a:defRPr>
            </a:lvl2pPr>
            <a:lvl3pPr marL="339623" indent="-165050" defTabSz="457063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  <a:defRPr sz="1999">
                <a:latin typeface="Arial"/>
                <a:cs typeface="Arial"/>
              </a:defRPr>
            </a:lvl3pPr>
            <a:lvl4pPr marL="512609" indent="-172986" defTabSz="457063">
              <a:spcBef>
                <a:spcPts val="200"/>
              </a:spcBef>
              <a:buClr>
                <a:schemeClr val="tx1"/>
              </a:buClr>
              <a:buFont typeface="Arial"/>
              <a:buChar char="•"/>
              <a:defRPr sz="1999">
                <a:latin typeface="Arial"/>
                <a:cs typeface="Arial"/>
              </a:defRPr>
            </a:lvl4pPr>
            <a:lvl5pPr marL="687182" indent="-174573" defTabSz="457063">
              <a:spcBef>
                <a:spcPts val="100"/>
              </a:spcBef>
              <a:buClr>
                <a:schemeClr val="tx1"/>
              </a:buClr>
              <a:buFont typeface="Lucida Grande"/>
              <a:buChar char="-"/>
              <a:defRPr sz="1999">
                <a:latin typeface="Arial"/>
                <a:cs typeface="Arial"/>
              </a:defRPr>
            </a:lvl5pPr>
            <a:lvl6pPr marL="2513846" indent="-228531" defTabSz="457063">
              <a:spcBef>
                <a:spcPct val="20000"/>
              </a:spcBef>
              <a:buFont typeface="Arial"/>
              <a:buChar char="•"/>
              <a:defRPr sz="1999"/>
            </a:lvl6pPr>
            <a:lvl7pPr marL="2970908" indent="-228531" defTabSz="457063">
              <a:spcBef>
                <a:spcPct val="20000"/>
              </a:spcBef>
              <a:buFont typeface="Arial"/>
              <a:buChar char="•"/>
              <a:defRPr sz="1999"/>
            </a:lvl7pPr>
            <a:lvl8pPr marL="3427971" indent="-228531" defTabSz="457063">
              <a:spcBef>
                <a:spcPct val="20000"/>
              </a:spcBef>
              <a:buFont typeface="Arial"/>
              <a:buChar char="•"/>
              <a:defRPr sz="1999"/>
            </a:lvl8pPr>
            <a:lvl9pPr marL="3885034" indent="-228531" defTabSz="457063">
              <a:spcBef>
                <a:spcPct val="20000"/>
              </a:spcBef>
              <a:buFont typeface="Arial"/>
              <a:buChar char="•"/>
              <a:defRPr sz="1999"/>
            </a:lvl9pPr>
          </a:lstStyle>
          <a:p>
            <a:pPr marL="0" marR="0" lvl="0" indent="0" algn="ctr" defTabSz="457063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Arial"/>
              </a:rPr>
              <a:t>Synthesizer Agent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Arial"/>
            </a:endParaRP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315CA7E3-8610-E8E2-41EC-4BFE1D3FD859}"/>
              </a:ext>
            </a:extLst>
          </p:cNvPr>
          <p:cNvCxnSpPr>
            <a:cxnSpLocks/>
          </p:cNvCxnSpPr>
          <p:nvPr/>
        </p:nvCxnSpPr>
        <p:spPr>
          <a:xfrm>
            <a:off x="3397691" y="2570041"/>
            <a:ext cx="0" cy="719521"/>
          </a:xfrm>
          <a:prstGeom prst="straightConnector1">
            <a:avLst/>
          </a:prstGeom>
          <a:ln>
            <a:solidFill>
              <a:schemeClr val="bg1">
                <a:lumMod val="95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Left Brace 42">
            <a:extLst>
              <a:ext uri="{FF2B5EF4-FFF2-40B4-BE49-F238E27FC236}">
                <a16:creationId xmlns:a16="http://schemas.microsoft.com/office/drawing/2014/main" id="{433EAD55-7860-E6E1-3A87-B9923ABCA141}"/>
              </a:ext>
            </a:extLst>
          </p:cNvPr>
          <p:cNvSpPr/>
          <p:nvPr/>
        </p:nvSpPr>
        <p:spPr>
          <a:xfrm rot="16200000">
            <a:off x="3215423" y="3617792"/>
            <a:ext cx="374345" cy="1543043"/>
          </a:xfrm>
          <a:prstGeom prst="leftBrac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6" name="Text Placeholder 11">
            <a:extLst>
              <a:ext uri="{FF2B5EF4-FFF2-40B4-BE49-F238E27FC236}">
                <a16:creationId xmlns:a16="http://schemas.microsoft.com/office/drawing/2014/main" id="{4B99BB22-26D8-3A0F-4185-2B90655CC142}"/>
              </a:ext>
            </a:extLst>
          </p:cNvPr>
          <p:cNvSpPr txBox="1">
            <a:spLocks/>
          </p:cNvSpPr>
          <p:nvPr/>
        </p:nvSpPr>
        <p:spPr>
          <a:xfrm>
            <a:off x="4610154" y="2042616"/>
            <a:ext cx="2120817" cy="236369"/>
          </a:xfrm>
          <a:prstGeom prst="rect">
            <a:avLst/>
          </a:prstGeom>
        </p:spPr>
        <p:txBody>
          <a:bodyPr lIns="91440" tIns="45720" rIns="91440" bIns="45720" anchor="t"/>
          <a:lstStyle>
            <a:defPPr>
              <a:defRPr lang="en-US"/>
            </a:defPPr>
            <a:lvl1pPr indent="0" algn="ctr" defTabSz="457063">
              <a:spcBef>
                <a:spcPts val="1000"/>
              </a:spcBef>
              <a:buFont typeface="Arial"/>
              <a:buNone/>
              <a:defRPr sz="1200" b="1">
                <a:latin typeface="Arial"/>
                <a:cs typeface="Arial"/>
              </a:defRPr>
            </a:lvl1pPr>
            <a:lvl2pPr marL="174573" indent="-174573" defTabSz="457063">
              <a:spcBef>
                <a:spcPts val="500"/>
              </a:spcBef>
              <a:buClr>
                <a:schemeClr val="tx1"/>
              </a:buClr>
              <a:buFont typeface="Arial"/>
              <a:buChar char="•"/>
              <a:defRPr sz="1999">
                <a:latin typeface="Arial"/>
                <a:cs typeface="Arial"/>
              </a:defRPr>
            </a:lvl2pPr>
            <a:lvl3pPr marL="339623" indent="-165050" defTabSz="457063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  <a:defRPr sz="1999">
                <a:latin typeface="Arial"/>
                <a:cs typeface="Arial"/>
              </a:defRPr>
            </a:lvl3pPr>
            <a:lvl4pPr marL="512609" indent="-172986" defTabSz="457063">
              <a:spcBef>
                <a:spcPts val="200"/>
              </a:spcBef>
              <a:buClr>
                <a:schemeClr val="tx1"/>
              </a:buClr>
              <a:buFont typeface="Arial"/>
              <a:buChar char="•"/>
              <a:defRPr sz="1999">
                <a:latin typeface="Arial"/>
                <a:cs typeface="Arial"/>
              </a:defRPr>
            </a:lvl4pPr>
            <a:lvl5pPr marL="687182" indent="-174573" defTabSz="457063">
              <a:spcBef>
                <a:spcPts val="100"/>
              </a:spcBef>
              <a:buClr>
                <a:schemeClr val="tx1"/>
              </a:buClr>
              <a:buFont typeface="Lucida Grande"/>
              <a:buChar char="-"/>
              <a:defRPr sz="1999">
                <a:latin typeface="Arial"/>
                <a:cs typeface="Arial"/>
              </a:defRPr>
            </a:lvl5pPr>
            <a:lvl6pPr marL="2513846" indent="-228531" defTabSz="457063">
              <a:spcBef>
                <a:spcPct val="20000"/>
              </a:spcBef>
              <a:buFont typeface="Arial"/>
              <a:buChar char="•"/>
              <a:defRPr sz="1999"/>
            </a:lvl6pPr>
            <a:lvl7pPr marL="2970908" indent="-228531" defTabSz="457063">
              <a:spcBef>
                <a:spcPct val="20000"/>
              </a:spcBef>
              <a:buFont typeface="Arial"/>
              <a:buChar char="•"/>
              <a:defRPr sz="1999"/>
            </a:lvl7pPr>
            <a:lvl8pPr marL="3427971" indent="-228531" defTabSz="457063">
              <a:spcBef>
                <a:spcPct val="20000"/>
              </a:spcBef>
              <a:buFont typeface="Arial"/>
              <a:buChar char="•"/>
              <a:defRPr sz="1999"/>
            </a:lvl8pPr>
            <a:lvl9pPr marL="3885034" indent="-228531" defTabSz="457063">
              <a:spcBef>
                <a:spcPct val="20000"/>
              </a:spcBef>
              <a:buFont typeface="Arial"/>
              <a:buChar char="•"/>
              <a:defRPr sz="1999"/>
            </a:lvl9pPr>
          </a:lstStyle>
          <a:p>
            <a:pPr marL="0" marR="0" lvl="0" indent="0" algn="ctr" defTabSz="457063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Arial"/>
              </a:rPr>
              <a:t>Scientific Content Synthesizer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Arial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59BC742-6BD5-5DE5-9D1D-C76110997E1C}"/>
              </a:ext>
            </a:extLst>
          </p:cNvPr>
          <p:cNvSpPr txBox="1"/>
          <p:nvPr/>
        </p:nvSpPr>
        <p:spPr>
          <a:xfrm>
            <a:off x="4746947" y="3596479"/>
            <a:ext cx="2017391" cy="692449"/>
          </a:xfrm>
          <a:prstGeom prst="rect">
            <a:avLst/>
          </a:prstGeom>
          <a:noFill/>
        </p:spPr>
        <p:txBody>
          <a:bodyPr wrap="square" lIns="91416" tIns="91416" rIns="91416" bIns="91416" rtlCol="0">
            <a:sp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Reads papers, extracts insights, writes evidence-backed narrative content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1" name="Left Brace 50">
            <a:extLst>
              <a:ext uri="{FF2B5EF4-FFF2-40B4-BE49-F238E27FC236}">
                <a16:creationId xmlns:a16="http://schemas.microsoft.com/office/drawing/2014/main" id="{BE1C7745-26EA-42D0-C3DD-0D09FF0E9029}"/>
              </a:ext>
            </a:extLst>
          </p:cNvPr>
          <p:cNvSpPr/>
          <p:nvPr/>
        </p:nvSpPr>
        <p:spPr>
          <a:xfrm rot="16200000">
            <a:off x="5561920" y="3469982"/>
            <a:ext cx="374345" cy="1734861"/>
          </a:xfrm>
          <a:prstGeom prst="leftBrac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A4D3A3CB-51A3-09E4-3C27-A52016FD273B}"/>
              </a:ext>
            </a:extLst>
          </p:cNvPr>
          <p:cNvCxnSpPr>
            <a:cxnSpLocks/>
          </p:cNvCxnSpPr>
          <p:nvPr/>
        </p:nvCxnSpPr>
        <p:spPr>
          <a:xfrm>
            <a:off x="5629191" y="2570041"/>
            <a:ext cx="0" cy="735311"/>
          </a:xfrm>
          <a:prstGeom prst="straightConnector1">
            <a:avLst/>
          </a:prstGeom>
          <a:ln>
            <a:solidFill>
              <a:schemeClr val="bg1">
                <a:lumMod val="95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Arrow: Chevron 10">
            <a:extLst>
              <a:ext uri="{FF2B5EF4-FFF2-40B4-BE49-F238E27FC236}">
                <a16:creationId xmlns:a16="http://schemas.microsoft.com/office/drawing/2014/main" id="{938E3CB4-EF8C-61DB-8590-E9B017F35BD3}"/>
              </a:ext>
            </a:extLst>
          </p:cNvPr>
          <p:cNvSpPr/>
          <p:nvPr/>
        </p:nvSpPr>
        <p:spPr>
          <a:xfrm>
            <a:off x="1819614" y="2702859"/>
            <a:ext cx="577927" cy="553949"/>
          </a:xfrm>
          <a:prstGeom prst="chevron">
            <a:avLst/>
          </a:prstGeom>
          <a:solidFill>
            <a:schemeClr val="bg2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Arrow: Chevron 11">
            <a:extLst>
              <a:ext uri="{FF2B5EF4-FFF2-40B4-BE49-F238E27FC236}">
                <a16:creationId xmlns:a16="http://schemas.microsoft.com/office/drawing/2014/main" id="{365C1E44-B072-C87F-44B2-329F1A1BDD16}"/>
              </a:ext>
            </a:extLst>
          </p:cNvPr>
          <p:cNvSpPr/>
          <p:nvPr/>
        </p:nvSpPr>
        <p:spPr>
          <a:xfrm>
            <a:off x="4311009" y="2699224"/>
            <a:ext cx="577927" cy="553949"/>
          </a:xfrm>
          <a:prstGeom prst="chevron">
            <a:avLst/>
          </a:prstGeom>
          <a:solidFill>
            <a:schemeClr val="bg2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1026" name="Picture 2" descr="Portrait of businesswoman">
            <a:extLst>
              <a:ext uri="{FF2B5EF4-FFF2-40B4-BE49-F238E27FC236}">
                <a16:creationId xmlns:a16="http://schemas.microsoft.com/office/drawing/2014/main" id="{24962337-392E-4A67-A537-F4A1594501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3741" y="954524"/>
            <a:ext cx="1066800" cy="106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Person in glasses">
            <a:extLst>
              <a:ext uri="{FF2B5EF4-FFF2-40B4-BE49-F238E27FC236}">
                <a16:creationId xmlns:a16="http://schemas.microsoft.com/office/drawing/2014/main" id="{916AC832-CB84-35AD-2924-C5171DBFA8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4454" y="940236"/>
            <a:ext cx="1085850" cy="1095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A21FDEE4-AF43-E3A0-4D0E-3FF9CFC3600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636397" y="990714"/>
            <a:ext cx="1066800" cy="1021146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8CCF9D37-B47F-5221-AC52-0CB23650A7C4}"/>
              </a:ext>
            </a:extLst>
          </p:cNvPr>
          <p:cNvCxnSpPr>
            <a:cxnSpLocks/>
          </p:cNvCxnSpPr>
          <p:nvPr/>
        </p:nvCxnSpPr>
        <p:spPr>
          <a:xfrm>
            <a:off x="1030063" y="2518723"/>
            <a:ext cx="0" cy="798872"/>
          </a:xfrm>
          <a:prstGeom prst="straightConnector1">
            <a:avLst/>
          </a:prstGeom>
          <a:ln>
            <a:solidFill>
              <a:schemeClr val="bg1">
                <a:lumMod val="95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9710E024-5ED0-3CC6-7FC5-DE794A2A4FEB}"/>
              </a:ext>
            </a:extLst>
          </p:cNvPr>
          <p:cNvSpPr txBox="1">
            <a:spLocks/>
          </p:cNvSpPr>
          <p:nvPr/>
        </p:nvSpPr>
        <p:spPr>
          <a:xfrm>
            <a:off x="375298" y="5328795"/>
            <a:ext cx="1801125" cy="276927"/>
          </a:xfrm>
          <a:prstGeom prst="rect">
            <a:avLst/>
          </a:prstGeom>
        </p:spPr>
        <p:txBody>
          <a:bodyPr lIns="91440" tIns="45720" rIns="91440" bIns="45720" anchor="t"/>
          <a:lstStyle>
            <a:defPPr>
              <a:defRPr lang="en-US"/>
            </a:defPPr>
            <a:lvl1pPr indent="0" algn="ctr" defTabSz="457063">
              <a:spcBef>
                <a:spcPts val="1000"/>
              </a:spcBef>
              <a:buFont typeface="Arial"/>
              <a:buNone/>
              <a:defRPr sz="1200" b="1">
                <a:latin typeface="Arial"/>
                <a:cs typeface="Arial"/>
              </a:defRPr>
            </a:lvl1pPr>
            <a:lvl2pPr marL="174573" indent="-174573" defTabSz="457063">
              <a:spcBef>
                <a:spcPts val="500"/>
              </a:spcBef>
              <a:buClr>
                <a:schemeClr val="tx1"/>
              </a:buClr>
              <a:buFont typeface="Arial"/>
              <a:buChar char="•"/>
              <a:defRPr sz="1999">
                <a:latin typeface="Arial"/>
                <a:cs typeface="Arial"/>
              </a:defRPr>
            </a:lvl2pPr>
            <a:lvl3pPr marL="339623" indent="-165050" defTabSz="457063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  <a:defRPr sz="1999">
                <a:latin typeface="Arial"/>
                <a:cs typeface="Arial"/>
              </a:defRPr>
            </a:lvl3pPr>
            <a:lvl4pPr marL="512609" indent="-172986" defTabSz="457063">
              <a:spcBef>
                <a:spcPts val="200"/>
              </a:spcBef>
              <a:buClr>
                <a:schemeClr val="tx1"/>
              </a:buClr>
              <a:buFont typeface="Arial"/>
              <a:buChar char="•"/>
              <a:defRPr sz="1999">
                <a:latin typeface="Arial"/>
                <a:cs typeface="Arial"/>
              </a:defRPr>
            </a:lvl4pPr>
            <a:lvl5pPr marL="687182" indent="-174573" defTabSz="457063">
              <a:spcBef>
                <a:spcPts val="100"/>
              </a:spcBef>
              <a:buClr>
                <a:schemeClr val="tx1"/>
              </a:buClr>
              <a:buFont typeface="Lucida Grande"/>
              <a:buChar char="-"/>
              <a:defRPr sz="1999">
                <a:latin typeface="Arial"/>
                <a:cs typeface="Arial"/>
              </a:defRPr>
            </a:lvl5pPr>
            <a:lvl6pPr marL="2513846" indent="-228531" defTabSz="457063">
              <a:spcBef>
                <a:spcPct val="20000"/>
              </a:spcBef>
              <a:buFont typeface="Arial"/>
              <a:buChar char="•"/>
              <a:defRPr sz="1999"/>
            </a:lvl6pPr>
            <a:lvl7pPr marL="2970908" indent="-228531" defTabSz="457063">
              <a:spcBef>
                <a:spcPct val="20000"/>
              </a:spcBef>
              <a:buFont typeface="Arial"/>
              <a:buChar char="•"/>
              <a:defRPr sz="1999"/>
            </a:lvl7pPr>
            <a:lvl8pPr marL="3427971" indent="-228531" defTabSz="457063">
              <a:spcBef>
                <a:spcPct val="20000"/>
              </a:spcBef>
              <a:buFont typeface="Arial"/>
              <a:buChar char="•"/>
              <a:defRPr sz="1999"/>
            </a:lvl8pPr>
            <a:lvl9pPr marL="3885034" indent="-228531" defTabSz="457063">
              <a:spcBef>
                <a:spcPct val="20000"/>
              </a:spcBef>
              <a:buFont typeface="Arial"/>
              <a:buChar char="•"/>
              <a:defRPr sz="1999"/>
            </a:lvl9pPr>
          </a:lstStyle>
          <a:p>
            <a:pPr marL="0" marR="0" lvl="0" indent="0" algn="ctr" defTabSz="457063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Arial"/>
              </a:rPr>
              <a:t>Planner Agent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Arial"/>
            </a:endParaRPr>
          </a:p>
        </p:txBody>
      </p:sp>
      <p:pic>
        <p:nvPicPr>
          <p:cNvPr id="5" name="Graphic 4" descr="Artificial Intelligence with solid fill">
            <a:extLst>
              <a:ext uri="{FF2B5EF4-FFF2-40B4-BE49-F238E27FC236}">
                <a16:creationId xmlns:a16="http://schemas.microsoft.com/office/drawing/2014/main" id="{F294317A-B27F-5B16-25D0-43D552F3589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798559" y="4627250"/>
            <a:ext cx="841093" cy="809485"/>
          </a:xfrm>
          <a:prstGeom prst="rect">
            <a:avLst/>
          </a:prstGeom>
        </p:spPr>
      </p:pic>
      <p:sp>
        <p:nvSpPr>
          <p:cNvPr id="9" name="Left Brace 8">
            <a:extLst>
              <a:ext uri="{FF2B5EF4-FFF2-40B4-BE49-F238E27FC236}">
                <a16:creationId xmlns:a16="http://schemas.microsoft.com/office/drawing/2014/main" id="{724542E6-5B9B-27E0-1A67-F7D7E7CEDAF4}"/>
              </a:ext>
            </a:extLst>
          </p:cNvPr>
          <p:cNvSpPr/>
          <p:nvPr/>
        </p:nvSpPr>
        <p:spPr>
          <a:xfrm rot="16200000">
            <a:off x="1051767" y="3609282"/>
            <a:ext cx="374345" cy="1543043"/>
          </a:xfrm>
          <a:prstGeom prst="leftBrac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31" name="Graphic 30" descr="Artificial Intelligence with solid fill">
            <a:extLst>
              <a:ext uri="{FF2B5EF4-FFF2-40B4-BE49-F238E27FC236}">
                <a16:creationId xmlns:a16="http://schemas.microsoft.com/office/drawing/2014/main" id="{C2FC6017-2E23-783A-A9A7-28CF55FBF31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7572702" y="4524586"/>
            <a:ext cx="841093" cy="809485"/>
          </a:xfrm>
          <a:prstGeom prst="rect">
            <a:avLst/>
          </a:prstGeom>
        </p:spPr>
      </p:pic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A0FF009D-64E3-12B0-E1F1-79818C3CF663}"/>
              </a:ext>
            </a:extLst>
          </p:cNvPr>
          <p:cNvSpPr txBox="1">
            <a:spLocks/>
          </p:cNvSpPr>
          <p:nvPr/>
        </p:nvSpPr>
        <p:spPr>
          <a:xfrm>
            <a:off x="7284556" y="5341661"/>
            <a:ext cx="1720983" cy="276927"/>
          </a:xfrm>
          <a:prstGeom prst="rect">
            <a:avLst/>
          </a:prstGeom>
        </p:spPr>
        <p:txBody>
          <a:bodyPr lIns="91440" tIns="45720" rIns="91440" bIns="45720" anchor="t"/>
          <a:lstStyle>
            <a:defPPr>
              <a:defRPr lang="en-US"/>
            </a:defPPr>
            <a:lvl1pPr indent="0" algn="ctr" defTabSz="457063">
              <a:spcBef>
                <a:spcPts val="1000"/>
              </a:spcBef>
              <a:buFont typeface="Arial"/>
              <a:buNone/>
              <a:defRPr sz="1200" b="1">
                <a:latin typeface="Arial"/>
                <a:cs typeface="Arial"/>
              </a:defRPr>
            </a:lvl1pPr>
            <a:lvl2pPr marL="174573" indent="-174573" defTabSz="457063">
              <a:spcBef>
                <a:spcPts val="500"/>
              </a:spcBef>
              <a:buClr>
                <a:schemeClr val="tx1"/>
              </a:buClr>
              <a:buFont typeface="Arial"/>
              <a:buChar char="•"/>
              <a:defRPr sz="1999">
                <a:latin typeface="Arial"/>
                <a:cs typeface="Arial"/>
              </a:defRPr>
            </a:lvl2pPr>
            <a:lvl3pPr marL="339623" indent="-165050" defTabSz="457063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  <a:defRPr sz="1999">
                <a:latin typeface="Arial"/>
                <a:cs typeface="Arial"/>
              </a:defRPr>
            </a:lvl3pPr>
            <a:lvl4pPr marL="512609" indent="-172986" defTabSz="457063">
              <a:spcBef>
                <a:spcPts val="200"/>
              </a:spcBef>
              <a:buClr>
                <a:schemeClr val="tx1"/>
              </a:buClr>
              <a:buFont typeface="Arial"/>
              <a:buChar char="•"/>
              <a:defRPr sz="1999">
                <a:latin typeface="Arial"/>
                <a:cs typeface="Arial"/>
              </a:defRPr>
            </a:lvl4pPr>
            <a:lvl5pPr marL="687182" indent="-174573" defTabSz="457063">
              <a:spcBef>
                <a:spcPts val="100"/>
              </a:spcBef>
              <a:buClr>
                <a:schemeClr val="tx1"/>
              </a:buClr>
              <a:buFont typeface="Lucida Grande"/>
              <a:buChar char="-"/>
              <a:defRPr sz="1999">
                <a:latin typeface="Arial"/>
                <a:cs typeface="Arial"/>
              </a:defRPr>
            </a:lvl5pPr>
            <a:lvl6pPr marL="2513846" indent="-228531" defTabSz="457063">
              <a:spcBef>
                <a:spcPct val="20000"/>
              </a:spcBef>
              <a:buFont typeface="Arial"/>
              <a:buChar char="•"/>
              <a:defRPr sz="1999"/>
            </a:lvl6pPr>
            <a:lvl7pPr marL="2970908" indent="-228531" defTabSz="457063">
              <a:spcBef>
                <a:spcPct val="20000"/>
              </a:spcBef>
              <a:buFont typeface="Arial"/>
              <a:buChar char="•"/>
              <a:defRPr sz="1999"/>
            </a:lvl7pPr>
            <a:lvl8pPr marL="3427971" indent="-228531" defTabSz="457063">
              <a:spcBef>
                <a:spcPct val="20000"/>
              </a:spcBef>
              <a:buFont typeface="Arial"/>
              <a:buChar char="•"/>
              <a:defRPr sz="1999"/>
            </a:lvl8pPr>
            <a:lvl9pPr marL="3885034" indent="-228531" defTabSz="457063">
              <a:spcBef>
                <a:spcPct val="20000"/>
              </a:spcBef>
              <a:buFont typeface="Arial"/>
              <a:buChar char="•"/>
              <a:defRPr sz="1999"/>
            </a:lvl9pPr>
          </a:lstStyle>
          <a:p>
            <a:pPr marL="0" marR="0" lvl="0" indent="0" algn="ctr" defTabSz="457063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Arial"/>
              </a:rPr>
              <a:t>Reflection Agen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03A8FB4-9443-F1BD-BAE9-9BC9AD0A3964}"/>
              </a:ext>
            </a:extLst>
          </p:cNvPr>
          <p:cNvSpPr txBox="1"/>
          <p:nvPr/>
        </p:nvSpPr>
        <p:spPr>
          <a:xfrm>
            <a:off x="7098219" y="3432111"/>
            <a:ext cx="2032479" cy="861726"/>
          </a:xfrm>
          <a:prstGeom prst="rect">
            <a:avLst/>
          </a:prstGeom>
          <a:noFill/>
        </p:spPr>
        <p:txBody>
          <a:bodyPr wrap="square" lIns="91416" tIns="91416" rIns="91416" bIns="91416" rtlCol="0">
            <a:sp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Ensures accuracy, removes inconsistencies, strengthens weak reasoning or contradictory claims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5" name="Left Brace 34">
            <a:extLst>
              <a:ext uri="{FF2B5EF4-FFF2-40B4-BE49-F238E27FC236}">
                <a16:creationId xmlns:a16="http://schemas.microsoft.com/office/drawing/2014/main" id="{36268D48-26C0-1356-ACBA-49778045855E}"/>
              </a:ext>
            </a:extLst>
          </p:cNvPr>
          <p:cNvSpPr/>
          <p:nvPr/>
        </p:nvSpPr>
        <p:spPr>
          <a:xfrm rot="16200000">
            <a:off x="7886655" y="3499339"/>
            <a:ext cx="374345" cy="1660968"/>
          </a:xfrm>
          <a:prstGeom prst="leftBrac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Arrow: Chevron 37">
            <a:extLst>
              <a:ext uri="{FF2B5EF4-FFF2-40B4-BE49-F238E27FC236}">
                <a16:creationId xmlns:a16="http://schemas.microsoft.com/office/drawing/2014/main" id="{110BAA4E-AADA-0028-7748-6F7D81E36347}"/>
              </a:ext>
            </a:extLst>
          </p:cNvPr>
          <p:cNvSpPr/>
          <p:nvPr/>
        </p:nvSpPr>
        <p:spPr>
          <a:xfrm>
            <a:off x="6616523" y="2641184"/>
            <a:ext cx="577927" cy="553949"/>
          </a:xfrm>
          <a:prstGeom prst="chevron">
            <a:avLst/>
          </a:prstGeom>
          <a:solidFill>
            <a:schemeClr val="bg2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41F6D472-2F9A-35C0-58E7-3D10CB4FBE40}"/>
              </a:ext>
            </a:extLst>
          </p:cNvPr>
          <p:cNvCxnSpPr>
            <a:cxnSpLocks/>
          </p:cNvCxnSpPr>
          <p:nvPr/>
        </p:nvCxnSpPr>
        <p:spPr>
          <a:xfrm>
            <a:off x="8086847" y="2567384"/>
            <a:ext cx="0" cy="685789"/>
          </a:xfrm>
          <a:prstGeom prst="straightConnector1">
            <a:avLst/>
          </a:prstGeom>
          <a:ln>
            <a:solidFill>
              <a:schemeClr val="bg1">
                <a:lumMod val="95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744F5189-808B-8472-1120-8A5AFFFE7DC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891881" y="1017882"/>
            <a:ext cx="1090883" cy="1021146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4542A0FA-715C-B656-C54E-AF403E3E7705}"/>
              </a:ext>
            </a:extLst>
          </p:cNvPr>
          <p:cNvSpPr txBox="1">
            <a:spLocks/>
          </p:cNvSpPr>
          <p:nvPr/>
        </p:nvSpPr>
        <p:spPr>
          <a:xfrm>
            <a:off x="9214358" y="2066610"/>
            <a:ext cx="2320756" cy="366495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457063" rtl="0" eaLnBrk="1" latinLnBrk="0" hangingPunct="1">
              <a:spcBef>
                <a:spcPts val="1000"/>
              </a:spcBef>
              <a:buFont typeface="Arial"/>
              <a:buNone/>
              <a:defRPr sz="1999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4573" indent="-174573" algn="l" defTabSz="457063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  <a:defRPr sz="1999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623" indent="-165050" algn="l" defTabSz="457063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  <a:defRPr sz="1999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609" indent="-172986" algn="l" defTabSz="457063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  <a:defRPr sz="1999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182" indent="-174573" algn="l" defTabSz="457063" rtl="0" eaLnBrk="1" latinLnBrk="0" hangingPunct="1">
              <a:spcBef>
                <a:spcPts val="100"/>
              </a:spcBef>
              <a:buClr>
                <a:schemeClr val="tx1"/>
              </a:buClr>
              <a:buFont typeface="Lucida Grande"/>
              <a:buChar char="-"/>
              <a:defRPr sz="1999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3846" indent="-228531" algn="l" defTabSz="457063" rtl="0" eaLnBrk="1" latinLnBrk="0" hangingPunct="1">
              <a:spcBef>
                <a:spcPct val="20000"/>
              </a:spcBef>
              <a:buFont typeface="Arial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457063" rtl="0" eaLnBrk="1" latinLnBrk="0" hangingPunct="1">
              <a:spcBef>
                <a:spcPct val="20000"/>
              </a:spcBef>
              <a:buFont typeface="Arial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457063" rtl="0" eaLnBrk="1" latinLnBrk="0" hangingPunct="1">
              <a:spcBef>
                <a:spcPct val="20000"/>
              </a:spcBef>
              <a:buFont typeface="Arial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457063" rtl="0" eaLnBrk="1" latinLnBrk="0" hangingPunct="1">
              <a:spcBef>
                <a:spcPct val="20000"/>
              </a:spcBef>
              <a:buFont typeface="Arial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63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Arial"/>
              </a:rPr>
              <a:t>Domain Expert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Arial"/>
            </a:endParaRPr>
          </a:p>
        </p:txBody>
      </p:sp>
      <p:pic>
        <p:nvPicPr>
          <p:cNvPr id="7" name="Graphic 6" descr="Artificial Intelligence with solid fill">
            <a:extLst>
              <a:ext uri="{FF2B5EF4-FFF2-40B4-BE49-F238E27FC236}">
                <a16:creationId xmlns:a16="http://schemas.microsoft.com/office/drawing/2014/main" id="{5B50A3C8-9C9A-72FD-D2C5-CCB97AD3208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10054066" y="4521340"/>
            <a:ext cx="841093" cy="809485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F189B976-F7D7-0DD1-FDAF-FCFD51B77FA2}"/>
              </a:ext>
            </a:extLst>
          </p:cNvPr>
          <p:cNvSpPr txBox="1">
            <a:spLocks/>
          </p:cNvSpPr>
          <p:nvPr/>
        </p:nvSpPr>
        <p:spPr>
          <a:xfrm>
            <a:off x="9830946" y="5223444"/>
            <a:ext cx="1402364" cy="276927"/>
          </a:xfrm>
          <a:prstGeom prst="rect">
            <a:avLst/>
          </a:prstGeom>
        </p:spPr>
        <p:txBody>
          <a:bodyPr lIns="91440" tIns="45720" rIns="91440" bIns="45720" anchor="t"/>
          <a:lstStyle>
            <a:defPPr>
              <a:defRPr lang="en-US"/>
            </a:defPPr>
            <a:lvl1pPr indent="0" algn="ctr" defTabSz="457063">
              <a:spcBef>
                <a:spcPts val="1000"/>
              </a:spcBef>
              <a:buFont typeface="Arial"/>
              <a:buNone/>
              <a:defRPr sz="1200" b="1">
                <a:latin typeface="Arial"/>
                <a:cs typeface="Arial"/>
              </a:defRPr>
            </a:lvl1pPr>
            <a:lvl2pPr marL="174573" indent="-174573" defTabSz="457063">
              <a:spcBef>
                <a:spcPts val="500"/>
              </a:spcBef>
              <a:buClr>
                <a:schemeClr val="tx1"/>
              </a:buClr>
              <a:buFont typeface="Arial"/>
              <a:buChar char="•"/>
              <a:defRPr sz="1999">
                <a:latin typeface="Arial"/>
                <a:cs typeface="Arial"/>
              </a:defRPr>
            </a:lvl2pPr>
            <a:lvl3pPr marL="339623" indent="-165050" defTabSz="457063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  <a:defRPr sz="1999">
                <a:latin typeface="Arial"/>
                <a:cs typeface="Arial"/>
              </a:defRPr>
            </a:lvl3pPr>
            <a:lvl4pPr marL="512609" indent="-172986" defTabSz="457063">
              <a:spcBef>
                <a:spcPts val="200"/>
              </a:spcBef>
              <a:buClr>
                <a:schemeClr val="tx1"/>
              </a:buClr>
              <a:buFont typeface="Arial"/>
              <a:buChar char="•"/>
              <a:defRPr sz="1999">
                <a:latin typeface="Arial"/>
                <a:cs typeface="Arial"/>
              </a:defRPr>
            </a:lvl4pPr>
            <a:lvl5pPr marL="687182" indent="-174573" defTabSz="457063">
              <a:spcBef>
                <a:spcPts val="100"/>
              </a:spcBef>
              <a:buClr>
                <a:schemeClr val="tx1"/>
              </a:buClr>
              <a:buFont typeface="Lucida Grande"/>
              <a:buChar char="-"/>
              <a:defRPr sz="1999">
                <a:latin typeface="Arial"/>
                <a:cs typeface="Arial"/>
              </a:defRPr>
            </a:lvl5pPr>
            <a:lvl6pPr marL="2513846" indent="-228531" defTabSz="457063">
              <a:spcBef>
                <a:spcPct val="20000"/>
              </a:spcBef>
              <a:buFont typeface="Arial"/>
              <a:buChar char="•"/>
              <a:defRPr sz="1999"/>
            </a:lvl6pPr>
            <a:lvl7pPr marL="2970908" indent="-228531" defTabSz="457063">
              <a:spcBef>
                <a:spcPct val="20000"/>
              </a:spcBef>
              <a:buFont typeface="Arial"/>
              <a:buChar char="•"/>
              <a:defRPr sz="1999"/>
            </a:lvl7pPr>
            <a:lvl8pPr marL="3427971" indent="-228531" defTabSz="457063">
              <a:spcBef>
                <a:spcPct val="20000"/>
              </a:spcBef>
              <a:buFont typeface="Arial"/>
              <a:buChar char="•"/>
              <a:defRPr sz="1999"/>
            </a:lvl8pPr>
            <a:lvl9pPr marL="3885034" indent="-228531" defTabSz="457063">
              <a:spcBef>
                <a:spcPct val="20000"/>
              </a:spcBef>
              <a:buFont typeface="Arial"/>
              <a:buChar char="•"/>
              <a:defRPr sz="1999"/>
            </a:lvl9pPr>
          </a:lstStyle>
          <a:p>
            <a:pPr marL="0" marR="0" lvl="0" indent="0" algn="ctr" defTabSz="457063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Arial"/>
              </a:rPr>
              <a:t>Human-in-the-Loop Checkpoints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Arial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0AF5550-C845-F54A-A165-D3C078147F93}"/>
              </a:ext>
            </a:extLst>
          </p:cNvPr>
          <p:cNvSpPr txBox="1"/>
          <p:nvPr/>
        </p:nvSpPr>
        <p:spPr>
          <a:xfrm>
            <a:off x="9464579" y="3531942"/>
            <a:ext cx="1885561" cy="692449"/>
          </a:xfrm>
          <a:prstGeom prst="rect">
            <a:avLst/>
          </a:prstGeom>
          <a:noFill/>
        </p:spPr>
        <p:txBody>
          <a:bodyPr wrap="square" lIns="91416" tIns="91416" rIns="91416" bIns="91416" rtlCol="0">
            <a:sp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Validates the plan, output tone, scientific integrity, and fitness-for-purpose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6" name="Left Brace 15">
            <a:extLst>
              <a:ext uri="{FF2B5EF4-FFF2-40B4-BE49-F238E27FC236}">
                <a16:creationId xmlns:a16="http://schemas.microsoft.com/office/drawing/2014/main" id="{8CC7C7C7-C71F-54BA-BCBF-51B6942624AF}"/>
              </a:ext>
            </a:extLst>
          </p:cNvPr>
          <p:cNvSpPr/>
          <p:nvPr/>
        </p:nvSpPr>
        <p:spPr>
          <a:xfrm rot="16200000">
            <a:off x="10236915" y="3555056"/>
            <a:ext cx="374345" cy="1543043"/>
          </a:xfrm>
          <a:prstGeom prst="leftBrac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Arrow: Chevron 16">
            <a:extLst>
              <a:ext uri="{FF2B5EF4-FFF2-40B4-BE49-F238E27FC236}">
                <a16:creationId xmlns:a16="http://schemas.microsoft.com/office/drawing/2014/main" id="{56854014-2C92-69EC-D64E-1C04389C69AC}"/>
              </a:ext>
            </a:extLst>
          </p:cNvPr>
          <p:cNvSpPr/>
          <p:nvPr/>
        </p:nvSpPr>
        <p:spPr>
          <a:xfrm>
            <a:off x="8821462" y="2637938"/>
            <a:ext cx="577927" cy="553949"/>
          </a:xfrm>
          <a:prstGeom prst="chevron">
            <a:avLst/>
          </a:prstGeom>
          <a:solidFill>
            <a:schemeClr val="bg2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43C0201F-ED00-0002-0566-3DC1441246F5}"/>
              </a:ext>
            </a:extLst>
          </p:cNvPr>
          <p:cNvCxnSpPr>
            <a:cxnSpLocks/>
          </p:cNvCxnSpPr>
          <p:nvPr/>
        </p:nvCxnSpPr>
        <p:spPr>
          <a:xfrm>
            <a:off x="10291786" y="2564138"/>
            <a:ext cx="0" cy="685789"/>
          </a:xfrm>
          <a:prstGeom prst="straightConnector1">
            <a:avLst/>
          </a:prstGeom>
          <a:ln>
            <a:solidFill>
              <a:schemeClr val="bg1">
                <a:lumMod val="95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itre 3">
            <a:extLst>
              <a:ext uri="{FF2B5EF4-FFF2-40B4-BE49-F238E27FC236}">
                <a16:creationId xmlns:a16="http://schemas.microsoft.com/office/drawing/2014/main" id="{0AA1D338-97AD-5EE6-00FA-BC5C009EDEE1}"/>
              </a:ext>
            </a:extLst>
          </p:cNvPr>
          <p:cNvSpPr txBox="1">
            <a:spLocks/>
          </p:cNvSpPr>
          <p:nvPr/>
        </p:nvSpPr>
        <p:spPr>
          <a:xfrm>
            <a:off x="347280" y="272365"/>
            <a:ext cx="11210455" cy="3922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GB" sz="2600" b="0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Intelligent pharma literature tool flow diagram</a:t>
            </a:r>
          </a:p>
        </p:txBody>
      </p:sp>
    </p:spTree>
    <p:extLst>
      <p:ext uri="{BB962C8B-B14F-4D97-AF65-F5344CB8AC3E}">
        <p14:creationId xmlns:p14="http://schemas.microsoft.com/office/powerpoint/2010/main" val="3429994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0A48EA-B15A-C287-392A-842CE22BEBB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10571" y="-84756"/>
            <a:ext cx="11009313" cy="792163"/>
          </a:xfrm>
        </p:spPr>
        <p:txBody>
          <a:bodyPr/>
          <a:lstStyle/>
          <a:p>
            <a:r>
              <a:rPr lang="en-US" dirty="0"/>
              <a:t>Screens Snippets</a:t>
            </a:r>
            <a:endParaRPr lang="en-IN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4234409-E9A1-9E33-A814-3CBAA7EF75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0571" y="707407"/>
            <a:ext cx="4638405" cy="347880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916FEF2-0F35-C987-BCB7-6519522225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20346" y="707407"/>
            <a:ext cx="4809774" cy="3478804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7EE7722E-3C3E-619F-E31C-D00310222A4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4885" y="4335695"/>
            <a:ext cx="4809775" cy="2052933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7FF933C-036D-24D0-E076-70B136C22CF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20346" y="4335695"/>
            <a:ext cx="4890567" cy="2052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85645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6806B382-A7BC-4186-72C9-30A8CD2B16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4364" y="288092"/>
            <a:ext cx="5324502" cy="296881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038CAC7-2C03-9286-9935-02912484DA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73494" y="288092"/>
            <a:ext cx="5324502" cy="296881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D239F0B-773B-64B7-4240-C4C5F8B931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4365" y="3429000"/>
            <a:ext cx="5324501" cy="314090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1304E7C-E4EE-04EC-411A-AFACC2F2A5D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73495" y="3429000"/>
            <a:ext cx="5324502" cy="3140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86123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2F5584C6-FAA4-A72C-75AC-300011ED86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5564" y="698643"/>
            <a:ext cx="5067142" cy="241589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9D1F203-29B4-2514-7A73-E1D1993D64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56268" y="698643"/>
            <a:ext cx="5732981" cy="241589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98A74B2-B671-4B82-9DC3-33B5B5F2952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5565" y="3355458"/>
            <a:ext cx="5067142" cy="261382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BE1D6FB-0588-F911-8C87-50DDD801480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87090" y="3355458"/>
            <a:ext cx="5732981" cy="2685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12270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Invent 2025">
  <a:themeElements>
    <a:clrScheme name="Capgemini 2024">
      <a:dk1>
        <a:sysClr val="windowText" lastClr="000000"/>
      </a:dk1>
      <a:lt1>
        <a:srgbClr val="FFFFFF"/>
      </a:lt1>
      <a:dk2>
        <a:srgbClr val="000000"/>
      </a:dk2>
      <a:lt2>
        <a:srgbClr val="F6F6F6"/>
      </a:lt2>
      <a:accent1>
        <a:srgbClr val="0070AD"/>
      </a:accent1>
      <a:accent2>
        <a:srgbClr val="12ABDB"/>
      </a:accent2>
      <a:accent3>
        <a:srgbClr val="14596B"/>
      </a:accent3>
      <a:accent4>
        <a:srgbClr val="272936"/>
      </a:accent4>
      <a:accent5>
        <a:srgbClr val="0F878A"/>
      </a:accent5>
      <a:accent6>
        <a:srgbClr val="00BFBF"/>
      </a:accent6>
      <a:hlink>
        <a:srgbClr val="00929B"/>
      </a:hlink>
      <a:folHlink>
        <a:srgbClr val="00BFBF"/>
      </a:folHlink>
    </a:clrScheme>
    <a:fontScheme name="Capgemini 2021">
      <a:majorFont>
        <a:latin typeface="Ubuntu Medium"/>
        <a:ea typeface=""/>
        <a:cs typeface=""/>
      </a:majorFont>
      <a:minorFont>
        <a:latin typeface="Ubuntu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9525">
          <a:noFill/>
          <a:prstDash val="soli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90000" tIns="46800" rIns="90000" bIns="46800" rtlCol="0" anchor="ctr">
        <a:spAutoFit/>
      </a:bodyPr>
      <a:lstStyle>
        <a:defPPr algn="l">
          <a:spcBef>
            <a:spcPct val="0"/>
          </a:spcBef>
          <a:defRPr sz="1400" dirty="0" err="1" smtClean="0"/>
        </a:defPPr>
      </a:lstStyle>
    </a:txDef>
  </a:objectDefaults>
  <a:extraClrSchemeLst/>
  <a:custClrLst>
    <a:custClr name="Green A">
      <a:srgbClr val="57CF80"/>
    </a:custClr>
    <a:custClr name="Green B">
      <a:srgbClr val="33B569"/>
    </a:custClr>
    <a:custClr name="Green C">
      <a:srgbClr val="2EA657"/>
    </a:custClr>
    <a:custClr name="Green D">
      <a:srgbClr val="178C3D"/>
    </a:custClr>
    <a:custClr name="Green E">
      <a:srgbClr val="176036"/>
    </a:custClr>
    <a:custClr name="Teal A">
      <a:srgbClr val="00E6E3"/>
    </a:custClr>
    <a:custClr name="Teal B">
      <a:srgbClr val="00D5D0"/>
    </a:custClr>
    <a:custClr name="Teal C">
      <a:srgbClr val="00BFBF"/>
    </a:custClr>
    <a:custClr name="Teal D">
      <a:srgbClr val="00929B"/>
    </a:custClr>
    <a:custClr name="Teal E">
      <a:srgbClr val="007D74"/>
    </a:custClr>
    <a:custClr name="Peacock A">
      <a:srgbClr val="00E0CB"/>
    </a:custClr>
    <a:custClr name="Peacock B">
      <a:srgbClr val="00B2A2"/>
    </a:custClr>
    <a:custClr name="Peacock C">
      <a:srgbClr val="0F878A"/>
    </a:custClr>
    <a:custClr name="Peacock D">
      <a:srgbClr val="0F6A73"/>
    </a:custClr>
    <a:custClr name="Peacock E">
      <a:srgbClr val="0F434A"/>
    </a:custClr>
    <a:custClr name="Sapphire A">
      <a:srgbClr val="338091"/>
    </a:custClr>
    <a:custClr name="Sapphire B">
      <a:srgbClr val="336B7D"/>
    </a:custClr>
    <a:custClr name="Sapphire C">
      <a:srgbClr val="14596B"/>
    </a:custClr>
    <a:custClr name="Sapphire D">
      <a:srgbClr val="214554"/>
    </a:custClr>
    <a:custClr name="Sapphire E">
      <a:srgbClr val="173340"/>
    </a:custClr>
    <a:custClr name="Violet A">
      <a:srgbClr val="E557AD"/>
    </a:custClr>
    <a:custClr name="Violet B">
      <a:srgbClr val="D13A8C"/>
    </a:custClr>
    <a:custClr name="Violet C">
      <a:srgbClr val="BA2980"/>
    </a:custClr>
    <a:custClr name="Violet D">
      <a:srgbClr val="A12980"/>
    </a:custClr>
    <a:custClr name="Violet E">
      <a:srgbClr val="811B6F"/>
    </a:custClr>
    <a:custClr name="Yellow A">
      <a:srgbClr val="FFDA80"/>
    </a:custClr>
    <a:custClr name="Yellow B">
      <a:srgbClr val="FFD068"/>
    </a:custClr>
    <a:custClr name="Yellow C">
      <a:srgbClr val="FFB24A"/>
    </a:custClr>
    <a:custClr name="Yellow D">
      <a:srgbClr val="FF9C29"/>
    </a:custClr>
    <a:custClr name="Yellow E">
      <a:srgbClr val="FF8E12"/>
    </a:custClr>
    <a:custClr name="Velvet A">
      <a:srgbClr val="9E4780"/>
    </a:custClr>
    <a:custClr name="Velvet B">
      <a:srgbClr val="802B73"/>
    </a:custClr>
    <a:custClr name="Velvet C">
      <a:srgbClr val="750D5C"/>
    </a:custClr>
    <a:custClr name="Velvet D">
      <a:srgbClr val="590A42"/>
    </a:custClr>
    <a:custClr name="Velvet E">
      <a:srgbClr val="42142E"/>
    </a:custClr>
    <a:custClr name="Red A">
      <a:srgbClr val="FF5770"/>
    </a:custClr>
    <a:custClr name="Red B">
      <a:srgbClr val="FF455E"/>
    </a:custClr>
    <a:custClr name="Red C">
      <a:srgbClr val="FF304D"/>
    </a:custClr>
    <a:custClr name="Red D">
      <a:srgbClr val="E30021"/>
    </a:custClr>
    <a:custClr name="Red E">
      <a:srgbClr val="A6001A"/>
    </a:custClr>
  </a:custClrLst>
  <a:extLst>
    <a:ext uri="{05A4C25C-085E-4340-85A3-A5531E510DB2}">
      <thm15:themeFamily xmlns:thm15="http://schemas.microsoft.com/office/thememl/2012/main" name="Capgemini-Invent-template-master_2025.pptx" id="{593D72C2-0CBE-4C6C-8961-26AC50CF771A}" vid="{3DA8A1D8-FB45-4F6B-9421-3BB74D8CAE50}"/>
    </a:ext>
  </a:extLst>
</a:theme>
</file>

<file path=ppt/theme/theme2.xml><?xml version="1.0" encoding="utf-8"?>
<a:theme xmlns:a="http://schemas.openxmlformats.org/drawingml/2006/main" name="Capgemini-Invent_2024">
  <a:themeElements>
    <a:clrScheme name="Capgemini 2024">
      <a:dk1>
        <a:sysClr val="windowText" lastClr="000000"/>
      </a:dk1>
      <a:lt1>
        <a:srgbClr val="FFFFFF"/>
      </a:lt1>
      <a:dk2>
        <a:srgbClr val="000000"/>
      </a:dk2>
      <a:lt2>
        <a:srgbClr val="F6F6F6"/>
      </a:lt2>
      <a:accent1>
        <a:srgbClr val="0070AD"/>
      </a:accent1>
      <a:accent2>
        <a:srgbClr val="12ABDB"/>
      </a:accent2>
      <a:accent3>
        <a:srgbClr val="14596B"/>
      </a:accent3>
      <a:accent4>
        <a:srgbClr val="272936"/>
      </a:accent4>
      <a:accent5>
        <a:srgbClr val="0F878A"/>
      </a:accent5>
      <a:accent6>
        <a:srgbClr val="00BFBF"/>
      </a:accent6>
      <a:hlink>
        <a:srgbClr val="00929B"/>
      </a:hlink>
      <a:folHlink>
        <a:srgbClr val="00BFBF"/>
      </a:folHlink>
    </a:clrScheme>
    <a:fontScheme name="Capgemini 2021">
      <a:majorFont>
        <a:latin typeface="Ubuntu Medium"/>
        <a:ea typeface=""/>
        <a:cs typeface=""/>
      </a:majorFont>
      <a:minorFont>
        <a:latin typeface="Ubuntu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9525">
          <a:noFill/>
          <a:prstDash val="soli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90000" tIns="46800" rIns="90000" bIns="46800" rtlCol="0" anchor="ctr">
        <a:spAutoFit/>
      </a:bodyPr>
      <a:lstStyle>
        <a:defPPr algn="l">
          <a:spcBef>
            <a:spcPct val="0"/>
          </a:spcBef>
          <a:defRPr sz="1400" dirty="0" err="1" smtClean="0"/>
        </a:defPPr>
      </a:lstStyle>
    </a:txDef>
  </a:objectDefaults>
  <a:extraClrSchemeLst/>
  <a:custClrLst>
    <a:custClr name="Green A">
      <a:srgbClr val="57CF80"/>
    </a:custClr>
    <a:custClr name="Green B">
      <a:srgbClr val="33B569"/>
    </a:custClr>
    <a:custClr name="Green C">
      <a:srgbClr val="2EA657"/>
    </a:custClr>
    <a:custClr name="Green D">
      <a:srgbClr val="178C3D"/>
    </a:custClr>
    <a:custClr name="Green E">
      <a:srgbClr val="176036"/>
    </a:custClr>
    <a:custClr name="Teal A">
      <a:srgbClr val="00E6E3"/>
    </a:custClr>
    <a:custClr name="Teal B">
      <a:srgbClr val="00D5D0"/>
    </a:custClr>
    <a:custClr name="Teal C">
      <a:srgbClr val="00BFBF"/>
    </a:custClr>
    <a:custClr name="Teal D">
      <a:srgbClr val="00929B"/>
    </a:custClr>
    <a:custClr name="Teal E">
      <a:srgbClr val="007D74"/>
    </a:custClr>
    <a:custClr name="Peacock A">
      <a:srgbClr val="00E0CB"/>
    </a:custClr>
    <a:custClr name="Peacock B">
      <a:srgbClr val="00B2A2"/>
    </a:custClr>
    <a:custClr name="Peacock C">
      <a:srgbClr val="0F878A"/>
    </a:custClr>
    <a:custClr name="Peacock D">
      <a:srgbClr val="0F6A73"/>
    </a:custClr>
    <a:custClr name="Peacock E">
      <a:srgbClr val="0F434A"/>
    </a:custClr>
    <a:custClr name="Sapphire A">
      <a:srgbClr val="338091"/>
    </a:custClr>
    <a:custClr name="Sapphire B">
      <a:srgbClr val="336B7D"/>
    </a:custClr>
    <a:custClr name="Sapphire C">
      <a:srgbClr val="14596B"/>
    </a:custClr>
    <a:custClr name="Sapphire D">
      <a:srgbClr val="214554"/>
    </a:custClr>
    <a:custClr name="Sapphire E">
      <a:srgbClr val="173340"/>
    </a:custClr>
    <a:custClr name="Violet A">
      <a:srgbClr val="E557AD"/>
    </a:custClr>
    <a:custClr name="Violet B">
      <a:srgbClr val="D13A8C"/>
    </a:custClr>
    <a:custClr name="Violet C">
      <a:srgbClr val="BA2980"/>
    </a:custClr>
    <a:custClr name="Violet D">
      <a:srgbClr val="A12980"/>
    </a:custClr>
    <a:custClr name="Violet E">
      <a:srgbClr val="811B6F"/>
    </a:custClr>
    <a:custClr name="Yellow A">
      <a:srgbClr val="FFDA80"/>
    </a:custClr>
    <a:custClr name="Yellow B">
      <a:srgbClr val="FFD068"/>
    </a:custClr>
    <a:custClr name="Yellow C">
      <a:srgbClr val="FFB24A"/>
    </a:custClr>
    <a:custClr name="Yellow D">
      <a:srgbClr val="FF9C29"/>
    </a:custClr>
    <a:custClr name="Yellow E">
      <a:srgbClr val="FF8E12"/>
    </a:custClr>
    <a:custClr name="Velvet A">
      <a:srgbClr val="9E4780"/>
    </a:custClr>
    <a:custClr name="Velvet B">
      <a:srgbClr val="802B73"/>
    </a:custClr>
    <a:custClr name="Velvet C">
      <a:srgbClr val="750D5C"/>
    </a:custClr>
    <a:custClr name="Velvet D">
      <a:srgbClr val="590A42"/>
    </a:custClr>
    <a:custClr name="Velvet E">
      <a:srgbClr val="42142E"/>
    </a:custClr>
    <a:custClr name="Red A">
      <a:srgbClr val="FF5770"/>
    </a:custClr>
    <a:custClr name="Red B">
      <a:srgbClr val="FF455E"/>
    </a:custClr>
    <a:custClr name="Red C">
      <a:srgbClr val="FF304D"/>
    </a:custClr>
    <a:custClr name="Red D">
      <a:srgbClr val="E30021"/>
    </a:custClr>
    <a:custClr name="Red E">
      <a:srgbClr val="A6001A"/>
    </a:custClr>
  </a:custClrLst>
  <a:extLst>
    <a:ext uri="{05A4C25C-085E-4340-85A3-A5531E510DB2}">
      <thm15:themeFamily xmlns:thm15="http://schemas.microsoft.com/office/thememl/2012/main" name="Présentation5" id="{24C91BA7-39C1-4E6E-82F6-5B852495ED75}" vid="{5386FD97-D803-46EB-9A64-40EAA98527EF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5</TotalTime>
  <Words>334</Words>
  <Application>Microsoft Office PowerPoint</Application>
  <PresentationFormat>Widescreen</PresentationFormat>
  <Paragraphs>52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5" baseType="lpstr">
      <vt:lpstr>Aptos</vt:lpstr>
      <vt:lpstr>Arial</vt:lpstr>
      <vt:lpstr>Ubuntu</vt:lpstr>
      <vt:lpstr>Ubuntu Light</vt:lpstr>
      <vt:lpstr>Ubuntu Medium</vt:lpstr>
      <vt:lpstr>Verdana</vt:lpstr>
      <vt:lpstr>Wingdings</vt:lpstr>
      <vt:lpstr>Capgemini Invent 2025</vt:lpstr>
      <vt:lpstr>Capgemini-Invent_2024</vt:lpstr>
      <vt:lpstr>think-cell Slide</vt:lpstr>
      <vt:lpstr>PowerPoint Presentation</vt:lpstr>
      <vt:lpstr>PowerPoint Presentation</vt:lpstr>
      <vt:lpstr>Screens Snippet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Pandey, Poonam</dc:creator>
  <cp:lastModifiedBy>Pandey, Poonam</cp:lastModifiedBy>
  <cp:revision>4</cp:revision>
  <dcterms:created xsi:type="dcterms:W3CDTF">2025-10-04T21:09:12Z</dcterms:created>
  <dcterms:modified xsi:type="dcterms:W3CDTF">2025-10-04T22:15:11Z</dcterms:modified>
</cp:coreProperties>
</file>